
<file path=[Content_Types].xml><?xml version="1.0" encoding="utf-8"?>
<Types xmlns="http://schemas.openxmlformats.org/package/2006/content-types">
  <Default Extension="jpeg" ContentType="image/jpeg"/>
  <Default Extension="jpg" ContentType="image/jpe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352" r:id="rId2"/>
    <p:sldId id="275" r:id="rId3"/>
    <p:sldId id="276" r:id="rId4"/>
    <p:sldId id="278" r:id="rId5"/>
    <p:sldId id="334" r:id="rId6"/>
    <p:sldId id="284" r:id="rId7"/>
    <p:sldId id="384" r:id="rId8"/>
    <p:sldId id="386" r:id="rId9"/>
    <p:sldId id="388" r:id="rId10"/>
    <p:sldId id="389" r:id="rId11"/>
    <p:sldId id="371"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4" d="100"/>
          <a:sy n="104" d="100"/>
        </p:scale>
        <p:origin x="228"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effectLst/>
          </c:spPr>
          <c:dPt>
            <c:idx val="0"/>
            <c:bubble3D val="0"/>
            <c:spPr>
              <a:solidFill>
                <a:schemeClr val="bg1">
                  <a:lumMod val="85000"/>
                </a:schemeClr>
              </a:solidFill>
              <a:ln>
                <a:noFill/>
              </a:ln>
              <a:effectLst/>
            </c:spPr>
            <c:extLst>
              <c:ext xmlns:c16="http://schemas.microsoft.com/office/drawing/2014/chart" uri="{C3380CC4-5D6E-409C-BE32-E72D297353CC}">
                <c16:uniqueId val="{00000001-767D-4721-A435-C96540F3ABC8}"/>
              </c:ext>
            </c:extLst>
          </c:dPt>
          <c:dPt>
            <c:idx val="1"/>
            <c:bubble3D val="0"/>
            <c:spPr>
              <a:solidFill>
                <a:schemeClr val="accent1"/>
              </a:solidFill>
              <a:ln>
                <a:noFill/>
              </a:ln>
              <a:effectLst/>
            </c:spPr>
            <c:extLst>
              <c:ext xmlns:c16="http://schemas.microsoft.com/office/drawing/2014/chart" uri="{C3380CC4-5D6E-409C-BE32-E72D297353CC}">
                <c16:uniqueId val="{00000003-767D-4721-A435-C96540F3ABC8}"/>
              </c:ext>
            </c:extLst>
          </c:dPt>
          <c:dLbls>
            <c:dLbl>
              <c:idx val="0"/>
              <c:layout>
                <c:manualLayout>
                  <c:x val="9.2786743915892755E-2"/>
                  <c:y val="8.003915826535607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67D-4721-A435-C96540F3ABC8}"/>
                </c:ext>
              </c:extLst>
            </c:dLbl>
            <c:dLbl>
              <c:idx val="1"/>
              <c:layout>
                <c:manualLayout>
                  <c:x val="-0.12062276709066068"/>
                  <c:y val="-5.3359438843570757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67D-4721-A435-C96540F3ABC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69</c:v>
                </c:pt>
                <c:pt idx="1">
                  <c:v>31</c:v>
                </c:pt>
              </c:numCache>
            </c:numRef>
          </c:val>
          <c:extLst>
            <c:ext xmlns:c16="http://schemas.microsoft.com/office/drawing/2014/chart" uri="{C3380CC4-5D6E-409C-BE32-E72D297353CC}">
              <c16:uniqueId val="{00000004-767D-4721-A435-C96540F3ABC8}"/>
            </c:ext>
          </c:extLst>
        </c:ser>
        <c:dLbls>
          <c:showLegendKey val="0"/>
          <c:showVal val="0"/>
          <c:showCatName val="0"/>
          <c:showSerName val="0"/>
          <c:showPercent val="1"/>
          <c:showBubbleSize val="0"/>
          <c:showLeaderLines val="1"/>
        </c:dLbls>
        <c:firstSliceAng val="0"/>
        <c:holeSize val="61"/>
      </c:doughnut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7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effectLst/>
          </c:spPr>
          <c:dPt>
            <c:idx val="0"/>
            <c:bubble3D val="0"/>
            <c:spPr>
              <a:solidFill>
                <a:schemeClr val="bg1">
                  <a:lumMod val="85000"/>
                </a:schemeClr>
              </a:solidFill>
              <a:ln>
                <a:noFill/>
              </a:ln>
              <a:effectLst/>
            </c:spPr>
            <c:extLst>
              <c:ext xmlns:c16="http://schemas.microsoft.com/office/drawing/2014/chart" uri="{C3380CC4-5D6E-409C-BE32-E72D297353CC}">
                <c16:uniqueId val="{00000001-550F-47AB-82D8-FE31267D0E7C}"/>
              </c:ext>
            </c:extLst>
          </c:dPt>
          <c:dPt>
            <c:idx val="1"/>
            <c:bubble3D val="0"/>
            <c:spPr>
              <a:solidFill>
                <a:schemeClr val="accent2"/>
              </a:solidFill>
              <a:ln>
                <a:noFill/>
              </a:ln>
              <a:effectLst/>
            </c:spPr>
            <c:extLst>
              <c:ext xmlns:c16="http://schemas.microsoft.com/office/drawing/2014/chart" uri="{C3380CC4-5D6E-409C-BE32-E72D297353CC}">
                <c16:uniqueId val="{00000003-550F-47AB-82D8-FE31267D0E7C}"/>
              </c:ext>
            </c:extLst>
          </c:dPt>
          <c:dLbls>
            <c:dLbl>
              <c:idx val="0"/>
              <c:layout>
                <c:manualLayout>
                  <c:x val="0.13764822035489874"/>
                  <c:y val="7.2796071766678447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50F-47AB-82D8-FE31267D0E7C}"/>
                </c:ext>
              </c:extLst>
            </c:dLbl>
            <c:dLbl>
              <c:idx val="1"/>
              <c:layout>
                <c:manualLayout>
                  <c:x val="-0.12062276709066068"/>
                  <c:y val="-5.3359438843570757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50F-47AB-82D8-FE31267D0E7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45</c:v>
                </c:pt>
                <c:pt idx="1">
                  <c:v>50</c:v>
                </c:pt>
              </c:numCache>
            </c:numRef>
          </c:val>
          <c:extLst>
            <c:ext xmlns:c16="http://schemas.microsoft.com/office/drawing/2014/chart" uri="{C3380CC4-5D6E-409C-BE32-E72D297353CC}">
              <c16:uniqueId val="{00000004-550F-47AB-82D8-FE31267D0E7C}"/>
            </c:ext>
          </c:extLst>
        </c:ser>
        <c:dLbls>
          <c:showLegendKey val="0"/>
          <c:showVal val="0"/>
          <c:showCatName val="0"/>
          <c:showSerName val="0"/>
          <c:showPercent val="1"/>
          <c:showBubbleSize val="0"/>
          <c:showLeaderLines val="1"/>
        </c:dLbls>
        <c:firstSliceAng val="0"/>
        <c:holeSize val="61"/>
      </c:doughnut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7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effectLst/>
          </c:spPr>
          <c:dPt>
            <c:idx val="0"/>
            <c:bubble3D val="0"/>
            <c:spPr>
              <a:solidFill>
                <a:schemeClr val="bg1">
                  <a:lumMod val="85000"/>
                </a:schemeClr>
              </a:solidFill>
              <a:ln>
                <a:noFill/>
              </a:ln>
              <a:effectLst/>
            </c:spPr>
            <c:extLst>
              <c:ext xmlns:c16="http://schemas.microsoft.com/office/drawing/2014/chart" uri="{C3380CC4-5D6E-409C-BE32-E72D297353CC}">
                <c16:uniqueId val="{00000001-9B59-4CA6-98DB-F54C28ADC660}"/>
              </c:ext>
            </c:extLst>
          </c:dPt>
          <c:dPt>
            <c:idx val="1"/>
            <c:bubble3D val="0"/>
            <c:spPr>
              <a:solidFill>
                <a:schemeClr val="accent4"/>
              </a:solidFill>
              <a:ln>
                <a:noFill/>
              </a:ln>
              <a:effectLst/>
            </c:spPr>
            <c:extLst>
              <c:ext xmlns:c16="http://schemas.microsoft.com/office/drawing/2014/chart" uri="{C3380CC4-5D6E-409C-BE32-E72D297353CC}">
                <c16:uniqueId val="{00000003-9B59-4CA6-98DB-F54C28ADC660}"/>
              </c:ext>
            </c:extLst>
          </c:dPt>
          <c:dLbls>
            <c:dLbl>
              <c:idx val="0"/>
              <c:layout>
                <c:manualLayout>
                  <c:x val="0.21241704046170629"/>
                  <c:y val="3.67844148141389E-4"/>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B59-4CA6-98DB-F54C28ADC660}"/>
                </c:ext>
              </c:extLst>
            </c:dLbl>
            <c:dLbl>
              <c:idx val="1"/>
              <c:layout>
                <c:manualLayout>
                  <c:x val="-0.19539153251943253"/>
                  <c:y val="4.5829388751382977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B59-4CA6-98DB-F54C28ADC66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15</c:v>
                </c:pt>
                <c:pt idx="1">
                  <c:v>45</c:v>
                </c:pt>
              </c:numCache>
            </c:numRef>
          </c:val>
          <c:extLst>
            <c:ext xmlns:c16="http://schemas.microsoft.com/office/drawing/2014/chart" uri="{C3380CC4-5D6E-409C-BE32-E72D297353CC}">
              <c16:uniqueId val="{00000004-9B59-4CA6-98DB-F54C28ADC660}"/>
            </c:ext>
          </c:extLst>
        </c:ser>
        <c:dLbls>
          <c:showLegendKey val="0"/>
          <c:showVal val="0"/>
          <c:showCatName val="0"/>
          <c:showSerName val="0"/>
          <c:showPercent val="1"/>
          <c:showBubbleSize val="0"/>
          <c:showLeaderLines val="1"/>
        </c:dLbls>
        <c:firstSliceAng val="0"/>
        <c:holeSize val="61"/>
      </c:doughnut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7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E3D852-196F-451E-B1AC-3712424F38AD}" type="datetimeFigureOut">
              <a:rPr lang="en-US" smtClean="0"/>
              <a:t>6/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069907-641F-4846-8863-62C3AB6428B4}" type="slidenum">
              <a:rPr lang="en-US" smtClean="0"/>
              <a:t>‹#›</a:t>
            </a:fld>
            <a:endParaRPr lang="en-US"/>
          </a:p>
        </p:txBody>
      </p:sp>
    </p:spTree>
    <p:extLst>
      <p:ext uri="{BB962C8B-B14F-4D97-AF65-F5344CB8AC3E}">
        <p14:creationId xmlns:p14="http://schemas.microsoft.com/office/powerpoint/2010/main" val="40941346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4B605-59AA-4C1E-98B6-63D15D368C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A79410-F57B-4A19-BED3-2314D62829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AE7D1D5-DF41-41B3-9D45-011DDE770176}"/>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5" name="Footer Placeholder 4">
            <a:extLst>
              <a:ext uri="{FF2B5EF4-FFF2-40B4-BE49-F238E27FC236}">
                <a16:creationId xmlns:a16="http://schemas.microsoft.com/office/drawing/2014/main" id="{354E895A-431C-47AB-8866-63636F6C93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23DA01-3634-4BD1-A7D3-DC1FEAEDC5D2}"/>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32322593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005A7-2AA4-472D-B68B-D1F27515F5E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7925863-DC26-4D50-84B8-6D991097BEC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CB8135-63DE-4501-8D4A-A47C580B1669}"/>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5" name="Footer Placeholder 4">
            <a:extLst>
              <a:ext uri="{FF2B5EF4-FFF2-40B4-BE49-F238E27FC236}">
                <a16:creationId xmlns:a16="http://schemas.microsoft.com/office/drawing/2014/main" id="{811BB93E-7221-45BE-82F3-C9F633B8B5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A0A1B4-EE44-423B-AB09-56A9D9F5EFB3}"/>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4054107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6761E6A-69BA-41E5-922D-5A3E6399FDE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7738630-A999-4958-A10C-1001758B3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5642E2-2F2A-4A42-B9F8-6D5B00E6B2E6}"/>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5" name="Footer Placeholder 4">
            <a:extLst>
              <a:ext uri="{FF2B5EF4-FFF2-40B4-BE49-F238E27FC236}">
                <a16:creationId xmlns:a16="http://schemas.microsoft.com/office/drawing/2014/main" id="{49462287-26A8-47CC-87E5-599D1F6881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C72EFD-B433-45EF-8427-568431C7DAA1}"/>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33791665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6" name="Picture Placeholder 7"/>
          <p:cNvSpPr>
            <a:spLocks noGrp="1"/>
          </p:cNvSpPr>
          <p:nvPr>
            <p:ph type="pic" sz="quarter" idx="13"/>
          </p:nvPr>
        </p:nvSpPr>
        <p:spPr>
          <a:xfrm>
            <a:off x="0" y="2"/>
            <a:ext cx="12192000" cy="6371133"/>
          </a:xfrm>
        </p:spPr>
        <p:txBody>
          <a:bodyPr/>
          <a:lstStyle/>
          <a:p>
            <a:endParaRPr lang="en-US"/>
          </a:p>
        </p:txBody>
      </p:sp>
      <p:sp>
        <p:nvSpPr>
          <p:cNvPr id="3" name="Date Placeholder 2"/>
          <p:cNvSpPr>
            <a:spLocks noGrp="1"/>
          </p:cNvSpPr>
          <p:nvPr>
            <p:ph type="dt" sz="half" idx="10"/>
          </p:nvPr>
        </p:nvSpPr>
        <p:spPr/>
        <p:txBody>
          <a:bodyPr/>
          <a:lstStyle/>
          <a:p>
            <a:fld id="{9A48EDAF-EC74-4079-969E-E8B3FFDEC5A7}" type="datetime1">
              <a:rPr lang="en-US" smtClean="0"/>
              <a:t>6/22/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dirty="0"/>
          </a:p>
        </p:txBody>
      </p:sp>
    </p:spTree>
    <p:extLst>
      <p:ext uri="{BB962C8B-B14F-4D97-AF65-F5344CB8AC3E}">
        <p14:creationId xmlns:p14="http://schemas.microsoft.com/office/powerpoint/2010/main" val="16061161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0_Blank">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8108266" y="-1"/>
            <a:ext cx="3343420" cy="4213269"/>
          </a:xfrm>
          <a:solidFill>
            <a:schemeClr val="bg1">
              <a:lumMod val="85000"/>
            </a:schemeClr>
          </a:solidFill>
        </p:spPr>
        <p:txBody>
          <a:bodyPr/>
          <a:lstStyle/>
          <a:p>
            <a:endParaRPr lang="en-US"/>
          </a:p>
        </p:txBody>
      </p:sp>
      <p:sp>
        <p:nvSpPr>
          <p:cNvPr id="2" name="Date Placeholder 1"/>
          <p:cNvSpPr>
            <a:spLocks noGrp="1"/>
          </p:cNvSpPr>
          <p:nvPr>
            <p:ph type="dt" sz="half" idx="10"/>
          </p:nvPr>
        </p:nvSpPr>
        <p:spPr/>
        <p:txBody>
          <a:bodyPr/>
          <a:lstStyle/>
          <a:p>
            <a:fld id="{C552A8FF-3CF1-4C18-9D43-605D02173134}" type="datetime1">
              <a:rPr lang="en-US" smtClean="0"/>
              <a:t>6/22/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2ECD629-4DA5-4EAE-B174-69948CAAE2CE}" type="slidenum">
              <a:rPr lang="en-US" smtClean="0"/>
              <a:t>‹#›</a:t>
            </a:fld>
            <a:endParaRPr lang="en-US" dirty="0"/>
          </a:p>
        </p:txBody>
      </p:sp>
    </p:spTree>
    <p:extLst>
      <p:ext uri="{BB962C8B-B14F-4D97-AF65-F5344CB8AC3E}">
        <p14:creationId xmlns:p14="http://schemas.microsoft.com/office/powerpoint/2010/main" val="9995531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
            <a:ext cx="12192000" cy="3628215"/>
          </a:xfrm>
          <a:solidFill>
            <a:schemeClr val="bg1">
              <a:lumMod val="85000"/>
            </a:schemeClr>
          </a:solidFill>
        </p:spPr>
        <p:txBody>
          <a:bodyPr/>
          <a:lstStyle/>
          <a:p>
            <a:endParaRPr lang="en-US"/>
          </a:p>
        </p:txBody>
      </p:sp>
      <p:sp>
        <p:nvSpPr>
          <p:cNvPr id="2" name="Title 1"/>
          <p:cNvSpPr>
            <a:spLocks noGrp="1"/>
          </p:cNvSpPr>
          <p:nvPr>
            <p:ph type="title"/>
          </p:nvPr>
        </p:nvSpPr>
        <p:spPr>
          <a:xfrm>
            <a:off x="423304" y="444485"/>
            <a:ext cx="10954169" cy="765175"/>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9A48EDAF-EC74-4079-969E-E8B3FFDEC5A7}" type="datetime1">
              <a:rPr lang="en-US" smtClean="0"/>
              <a:t>6/22/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dirty="0"/>
          </a:p>
        </p:txBody>
      </p:sp>
    </p:spTree>
    <p:extLst>
      <p:ext uri="{BB962C8B-B14F-4D97-AF65-F5344CB8AC3E}">
        <p14:creationId xmlns:p14="http://schemas.microsoft.com/office/powerpoint/2010/main" val="3327575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8_Blank">
    <p:spTree>
      <p:nvGrpSpPr>
        <p:cNvPr id="1" name=""/>
        <p:cNvGrpSpPr/>
        <p:nvPr/>
      </p:nvGrpSpPr>
      <p:grpSpPr>
        <a:xfrm>
          <a:off x="0" y="0"/>
          <a:ext cx="0" cy="0"/>
          <a:chOff x="0" y="0"/>
          <a:chExt cx="0" cy="0"/>
        </a:xfrm>
      </p:grpSpPr>
      <p:sp>
        <p:nvSpPr>
          <p:cNvPr id="22" name="Picture Placeholder 21"/>
          <p:cNvSpPr>
            <a:spLocks noGrp="1"/>
          </p:cNvSpPr>
          <p:nvPr>
            <p:ph type="pic" sz="quarter" idx="16"/>
          </p:nvPr>
        </p:nvSpPr>
        <p:spPr>
          <a:xfrm>
            <a:off x="2438397" y="0"/>
            <a:ext cx="9753603" cy="6959600"/>
          </a:xfrm>
          <a:custGeom>
            <a:avLst/>
            <a:gdLst>
              <a:gd name="connsiteX0" fmla="*/ 0 w 9753602"/>
              <a:gd name="connsiteY0" fmla="*/ 0 h 7886700"/>
              <a:gd name="connsiteX1" fmla="*/ 9753602 w 9753602"/>
              <a:gd name="connsiteY1" fmla="*/ 0 h 7886700"/>
              <a:gd name="connsiteX2" fmla="*/ 9753602 w 9753602"/>
              <a:gd name="connsiteY2" fmla="*/ 7886700 h 7886700"/>
              <a:gd name="connsiteX3" fmla="*/ 0 w 9753602"/>
              <a:gd name="connsiteY3" fmla="*/ 7886700 h 7886700"/>
              <a:gd name="connsiteX0" fmla="*/ 0 w 9753602"/>
              <a:gd name="connsiteY0" fmla="*/ 0 h 7886700"/>
              <a:gd name="connsiteX1" fmla="*/ 9753602 w 9753602"/>
              <a:gd name="connsiteY1" fmla="*/ 0 h 7886700"/>
              <a:gd name="connsiteX2" fmla="*/ 9753602 w 9753602"/>
              <a:gd name="connsiteY2" fmla="*/ 7886700 h 7886700"/>
              <a:gd name="connsiteX3" fmla="*/ 0 w 9753602"/>
              <a:gd name="connsiteY3" fmla="*/ 0 h 7886700"/>
              <a:gd name="connsiteX0" fmla="*/ 0 w 9753602"/>
              <a:gd name="connsiteY0" fmla="*/ 0 h 7886700"/>
              <a:gd name="connsiteX1" fmla="*/ 9753602 w 9753602"/>
              <a:gd name="connsiteY1" fmla="*/ 0 h 7886700"/>
              <a:gd name="connsiteX2" fmla="*/ 9753602 w 9753602"/>
              <a:gd name="connsiteY2" fmla="*/ 6959600 h 7886700"/>
              <a:gd name="connsiteX3" fmla="*/ 9753602 w 9753602"/>
              <a:gd name="connsiteY3" fmla="*/ 7886700 h 7886700"/>
              <a:gd name="connsiteX4" fmla="*/ 0 w 9753602"/>
              <a:gd name="connsiteY4" fmla="*/ 0 h 7886700"/>
              <a:gd name="connsiteX0" fmla="*/ 0 w 9753602"/>
              <a:gd name="connsiteY0" fmla="*/ 0 h 6959600"/>
              <a:gd name="connsiteX1" fmla="*/ 9753602 w 9753602"/>
              <a:gd name="connsiteY1" fmla="*/ 0 h 6959600"/>
              <a:gd name="connsiteX2" fmla="*/ 9753602 w 9753602"/>
              <a:gd name="connsiteY2" fmla="*/ 6959600 h 6959600"/>
              <a:gd name="connsiteX3" fmla="*/ 0 w 9753602"/>
              <a:gd name="connsiteY3" fmla="*/ 0 h 6959600"/>
            </a:gdLst>
            <a:ahLst/>
            <a:cxnLst>
              <a:cxn ang="0">
                <a:pos x="connsiteX0" y="connsiteY0"/>
              </a:cxn>
              <a:cxn ang="0">
                <a:pos x="connsiteX1" y="connsiteY1"/>
              </a:cxn>
              <a:cxn ang="0">
                <a:pos x="connsiteX2" y="connsiteY2"/>
              </a:cxn>
              <a:cxn ang="0">
                <a:pos x="connsiteX3" y="connsiteY3"/>
              </a:cxn>
            </a:cxnLst>
            <a:rect l="l" t="t" r="r" b="b"/>
            <a:pathLst>
              <a:path w="9753602" h="6959600">
                <a:moveTo>
                  <a:pt x="0" y="0"/>
                </a:moveTo>
                <a:lnTo>
                  <a:pt x="9753602" y="0"/>
                </a:lnTo>
                <a:lnTo>
                  <a:pt x="9753602" y="6959600"/>
                </a:lnTo>
                <a:lnTo>
                  <a:pt x="0" y="0"/>
                </a:lnTo>
                <a:close/>
              </a:path>
            </a:pathLst>
          </a:custGeom>
          <a:solidFill>
            <a:schemeClr val="bg1">
              <a:lumMod val="85000"/>
            </a:schemeClr>
          </a:solidFill>
        </p:spPr>
        <p:txBody>
          <a:bodyPr wrap="square">
            <a:noAutofit/>
          </a:bodyPr>
          <a:lstStyle/>
          <a:p>
            <a:endParaRPr lang="en-US"/>
          </a:p>
        </p:txBody>
      </p:sp>
      <p:sp>
        <p:nvSpPr>
          <p:cNvPr id="14" name="Picture Placeholder 13"/>
          <p:cNvSpPr>
            <a:spLocks noGrp="1"/>
          </p:cNvSpPr>
          <p:nvPr>
            <p:ph type="pic" sz="quarter" idx="15"/>
          </p:nvPr>
        </p:nvSpPr>
        <p:spPr>
          <a:xfrm>
            <a:off x="0" y="1"/>
            <a:ext cx="6717552" cy="3736267"/>
          </a:xfrm>
          <a:custGeom>
            <a:avLst/>
            <a:gdLst>
              <a:gd name="connsiteX0" fmla="*/ 0 w 6717552"/>
              <a:gd name="connsiteY0" fmla="*/ 0 h 3736267"/>
              <a:gd name="connsiteX1" fmla="*/ 6717552 w 6717552"/>
              <a:gd name="connsiteY1" fmla="*/ 0 h 3736267"/>
              <a:gd name="connsiteX2" fmla="*/ 6207472 w 6717552"/>
              <a:gd name="connsiteY2" fmla="*/ 293160 h 3736267"/>
              <a:gd name="connsiteX3" fmla="*/ 0 w 6717552"/>
              <a:gd name="connsiteY3" fmla="*/ 3736267 h 3736267"/>
            </a:gdLst>
            <a:ahLst/>
            <a:cxnLst>
              <a:cxn ang="0">
                <a:pos x="connsiteX0" y="connsiteY0"/>
              </a:cxn>
              <a:cxn ang="0">
                <a:pos x="connsiteX1" y="connsiteY1"/>
              </a:cxn>
              <a:cxn ang="0">
                <a:pos x="connsiteX2" y="connsiteY2"/>
              </a:cxn>
              <a:cxn ang="0">
                <a:pos x="connsiteX3" y="connsiteY3"/>
              </a:cxn>
            </a:cxnLst>
            <a:rect l="l" t="t" r="r" b="b"/>
            <a:pathLst>
              <a:path w="6717552" h="3736267">
                <a:moveTo>
                  <a:pt x="0" y="0"/>
                </a:moveTo>
                <a:lnTo>
                  <a:pt x="6717552" y="0"/>
                </a:lnTo>
                <a:lnTo>
                  <a:pt x="6207472" y="293160"/>
                </a:lnTo>
                <a:lnTo>
                  <a:pt x="0" y="3736267"/>
                </a:lnTo>
                <a:close/>
              </a:path>
            </a:pathLst>
          </a:custGeom>
          <a:solidFill>
            <a:schemeClr val="bg1">
              <a:lumMod val="95000"/>
            </a:schemeClr>
          </a:solidFill>
        </p:spPr>
        <p:txBody>
          <a:bodyPr wrap="square">
            <a:noAutofit/>
          </a:bodyPr>
          <a:lstStyle/>
          <a:p>
            <a:endParaRPr lang="en-US"/>
          </a:p>
        </p:txBody>
      </p:sp>
      <p:sp>
        <p:nvSpPr>
          <p:cNvPr id="2" name="Date Placeholder 1"/>
          <p:cNvSpPr>
            <a:spLocks noGrp="1"/>
          </p:cNvSpPr>
          <p:nvPr>
            <p:ph type="dt" sz="half" idx="10"/>
          </p:nvPr>
        </p:nvSpPr>
        <p:spPr/>
        <p:txBody>
          <a:bodyPr/>
          <a:lstStyle/>
          <a:p>
            <a:fld id="{C552A8FF-3CF1-4C18-9D43-605D02173134}" type="datetime1">
              <a:rPr lang="en-US" smtClean="0"/>
              <a:t>6/22/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2ECD629-4DA5-4EAE-B174-69948CAAE2CE}" type="slidenum">
              <a:rPr lang="en-US" smtClean="0"/>
              <a:t>‹#›</a:t>
            </a:fld>
            <a:endParaRPr lang="en-US" dirty="0"/>
          </a:p>
        </p:txBody>
      </p:sp>
    </p:spTree>
    <p:extLst>
      <p:ext uri="{BB962C8B-B14F-4D97-AF65-F5344CB8AC3E}">
        <p14:creationId xmlns:p14="http://schemas.microsoft.com/office/powerpoint/2010/main" val="694936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1" y="0"/>
            <a:ext cx="6036503" cy="6858000"/>
          </a:xfrm>
          <a:custGeom>
            <a:avLst/>
            <a:gdLst>
              <a:gd name="connsiteX0" fmla="*/ 0 w 6036502"/>
              <a:gd name="connsiteY0" fmla="*/ 0 h 6858000"/>
              <a:gd name="connsiteX1" fmla="*/ 6036502 w 6036502"/>
              <a:gd name="connsiteY1" fmla="*/ 0 h 6858000"/>
              <a:gd name="connsiteX2" fmla="*/ 3954266 w 6036502"/>
              <a:gd name="connsiteY2" fmla="*/ 6814493 h 6858000"/>
              <a:gd name="connsiteX3" fmla="*/ 3954266 w 6036502"/>
              <a:gd name="connsiteY3" fmla="*/ 6858000 h 6858000"/>
              <a:gd name="connsiteX4" fmla="*/ 0 w 603650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6502" h="6858000">
                <a:moveTo>
                  <a:pt x="0" y="0"/>
                </a:moveTo>
                <a:lnTo>
                  <a:pt x="6036502" y="0"/>
                </a:lnTo>
                <a:lnTo>
                  <a:pt x="3954266" y="6814493"/>
                </a:lnTo>
                <a:lnTo>
                  <a:pt x="3954266" y="6858000"/>
                </a:lnTo>
                <a:lnTo>
                  <a:pt x="0" y="6858000"/>
                </a:lnTo>
                <a:close/>
              </a:path>
            </a:pathLst>
          </a:custGeom>
          <a:solidFill>
            <a:schemeClr val="bg1">
              <a:lumMod val="85000"/>
            </a:schemeClr>
          </a:solidFill>
        </p:spPr>
        <p:txBody>
          <a:bodyPr wrap="square">
            <a:noAutofit/>
          </a:bodyPr>
          <a:lstStyle/>
          <a:p>
            <a:endParaRPr lang="en-US"/>
          </a:p>
        </p:txBody>
      </p:sp>
      <p:sp>
        <p:nvSpPr>
          <p:cNvPr id="2" name="Title 1"/>
          <p:cNvSpPr>
            <a:spLocks noGrp="1"/>
          </p:cNvSpPr>
          <p:nvPr>
            <p:ph type="title"/>
          </p:nvPr>
        </p:nvSpPr>
        <p:spPr>
          <a:xfrm>
            <a:off x="6172202" y="444485"/>
            <a:ext cx="5205271" cy="1320817"/>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9A48EDAF-EC74-4079-969E-E8B3FFDEC5A7}" type="datetime1">
              <a:rPr lang="en-US" smtClean="0"/>
              <a:t>6/22/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dirty="0"/>
          </a:p>
        </p:txBody>
      </p:sp>
    </p:spTree>
    <p:extLst>
      <p:ext uri="{BB962C8B-B14F-4D97-AF65-F5344CB8AC3E}">
        <p14:creationId xmlns:p14="http://schemas.microsoft.com/office/powerpoint/2010/main" val="31359916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2_Title Only">
    <p:spTree>
      <p:nvGrpSpPr>
        <p:cNvPr id="1" name=""/>
        <p:cNvGrpSpPr/>
        <p:nvPr/>
      </p:nvGrpSpPr>
      <p:grpSpPr>
        <a:xfrm>
          <a:off x="0" y="0"/>
          <a:ext cx="0" cy="0"/>
          <a:chOff x="0" y="0"/>
          <a:chExt cx="0" cy="0"/>
        </a:xfrm>
      </p:grpSpPr>
      <p:sp>
        <p:nvSpPr>
          <p:cNvPr id="16" name="Picture Placeholder 7"/>
          <p:cNvSpPr>
            <a:spLocks noGrp="1"/>
          </p:cNvSpPr>
          <p:nvPr>
            <p:ph type="pic" sz="quarter" idx="16"/>
          </p:nvPr>
        </p:nvSpPr>
        <p:spPr>
          <a:xfrm>
            <a:off x="0" y="4899526"/>
            <a:ext cx="12192000" cy="1958474"/>
          </a:xfrm>
          <a:solidFill>
            <a:schemeClr val="bg1">
              <a:lumMod val="85000"/>
            </a:schemeClr>
          </a:solidFill>
        </p:spPr>
        <p:txBody>
          <a:bodyPr/>
          <a:lstStyle/>
          <a:p>
            <a:endParaRPr lang="en-US" dirty="0"/>
          </a:p>
        </p:txBody>
      </p:sp>
      <p:sp>
        <p:nvSpPr>
          <p:cNvPr id="7" name="Picture Placeholder 7"/>
          <p:cNvSpPr>
            <a:spLocks noGrp="1"/>
          </p:cNvSpPr>
          <p:nvPr>
            <p:ph type="pic" sz="quarter" idx="14"/>
          </p:nvPr>
        </p:nvSpPr>
        <p:spPr>
          <a:xfrm>
            <a:off x="5540820" y="2149932"/>
            <a:ext cx="3117405" cy="2123660"/>
          </a:xfrm>
          <a:solidFill>
            <a:schemeClr val="bg1">
              <a:lumMod val="85000"/>
            </a:schemeClr>
          </a:solidFill>
        </p:spPr>
        <p:txBody>
          <a:bodyPr/>
          <a:lstStyle/>
          <a:p>
            <a:endParaRPr lang="en-US" dirty="0"/>
          </a:p>
        </p:txBody>
      </p:sp>
      <p:sp>
        <p:nvSpPr>
          <p:cNvPr id="2" name="Title 1"/>
          <p:cNvSpPr>
            <a:spLocks noGrp="1"/>
          </p:cNvSpPr>
          <p:nvPr>
            <p:ph type="title"/>
          </p:nvPr>
        </p:nvSpPr>
        <p:spPr>
          <a:xfrm>
            <a:off x="423304" y="444485"/>
            <a:ext cx="10954169" cy="765175"/>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9A48EDAF-EC74-4079-969E-E8B3FFDEC5A7}" type="datetime1">
              <a:rPr lang="en-US" smtClean="0"/>
              <a:t>6/22/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dirty="0"/>
          </a:p>
        </p:txBody>
      </p:sp>
      <p:sp>
        <p:nvSpPr>
          <p:cNvPr id="15" name="Picture Placeholder 7"/>
          <p:cNvSpPr>
            <a:spLocks noGrp="1"/>
          </p:cNvSpPr>
          <p:nvPr>
            <p:ph type="pic" sz="quarter" idx="15"/>
          </p:nvPr>
        </p:nvSpPr>
        <p:spPr>
          <a:xfrm>
            <a:off x="8779494" y="2149932"/>
            <a:ext cx="3117405" cy="2123660"/>
          </a:xfrm>
          <a:solidFill>
            <a:schemeClr val="bg1">
              <a:lumMod val="85000"/>
            </a:schemeClr>
          </a:solidFill>
        </p:spPr>
        <p:txBody>
          <a:bodyPr/>
          <a:lstStyle/>
          <a:p>
            <a:endParaRPr lang="en-US" dirty="0"/>
          </a:p>
        </p:txBody>
      </p:sp>
    </p:spTree>
    <p:extLst>
      <p:ext uri="{BB962C8B-B14F-4D97-AF65-F5344CB8AC3E}">
        <p14:creationId xmlns:p14="http://schemas.microsoft.com/office/powerpoint/2010/main" val="3959333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9" name="Picture Placeholder 28"/>
          <p:cNvSpPr>
            <a:spLocks noGrp="1"/>
          </p:cNvSpPr>
          <p:nvPr>
            <p:ph type="pic" sz="quarter" idx="16"/>
          </p:nvPr>
        </p:nvSpPr>
        <p:spPr>
          <a:xfrm>
            <a:off x="8254677" y="762415"/>
            <a:ext cx="2965163" cy="4917522"/>
          </a:xfrm>
          <a:custGeom>
            <a:avLst/>
            <a:gdLst>
              <a:gd name="connsiteX0" fmla="*/ 2949658 w 2949658"/>
              <a:gd name="connsiteY0" fmla="*/ 0 h 4906417"/>
              <a:gd name="connsiteX1" fmla="*/ 2949658 w 2949658"/>
              <a:gd name="connsiteY1" fmla="*/ 4906417 h 4906417"/>
              <a:gd name="connsiteX2" fmla="*/ 0 w 2949658"/>
              <a:gd name="connsiteY2" fmla="*/ 4593467 h 4906417"/>
              <a:gd name="connsiteX3" fmla="*/ 0 w 2949658"/>
              <a:gd name="connsiteY3" fmla="*/ 310310 h 4906417"/>
              <a:gd name="connsiteX0" fmla="*/ 2954421 w 2954421"/>
              <a:gd name="connsiteY0" fmla="*/ 317959 h 4610014"/>
              <a:gd name="connsiteX1" fmla="*/ 2949658 w 2954421"/>
              <a:gd name="connsiteY1" fmla="*/ 4610014 h 4610014"/>
              <a:gd name="connsiteX2" fmla="*/ 0 w 2954421"/>
              <a:gd name="connsiteY2" fmla="*/ 4297064 h 4610014"/>
              <a:gd name="connsiteX3" fmla="*/ 0 w 2954421"/>
              <a:gd name="connsiteY3" fmla="*/ 13907 h 4610014"/>
              <a:gd name="connsiteX4" fmla="*/ 2954421 w 2954421"/>
              <a:gd name="connsiteY4" fmla="*/ 317959 h 4610014"/>
              <a:gd name="connsiteX0" fmla="*/ 2954421 w 2954421"/>
              <a:gd name="connsiteY0" fmla="*/ 304052 h 4596107"/>
              <a:gd name="connsiteX1" fmla="*/ 2949658 w 2954421"/>
              <a:gd name="connsiteY1" fmla="*/ 4596107 h 4596107"/>
              <a:gd name="connsiteX2" fmla="*/ 0 w 2954421"/>
              <a:gd name="connsiteY2" fmla="*/ 4283157 h 4596107"/>
              <a:gd name="connsiteX3" fmla="*/ 0 w 2954421"/>
              <a:gd name="connsiteY3" fmla="*/ 0 h 4596107"/>
              <a:gd name="connsiteX4" fmla="*/ 2954421 w 2954421"/>
              <a:gd name="connsiteY4" fmla="*/ 304052 h 4596107"/>
              <a:gd name="connsiteX0" fmla="*/ 2954421 w 2954421"/>
              <a:gd name="connsiteY0" fmla="*/ 304052 h 4892757"/>
              <a:gd name="connsiteX1" fmla="*/ 2949658 w 2954421"/>
              <a:gd name="connsiteY1" fmla="*/ 4596107 h 4892757"/>
              <a:gd name="connsiteX2" fmla="*/ 0 w 2954421"/>
              <a:gd name="connsiteY2" fmla="*/ 4892757 h 4892757"/>
              <a:gd name="connsiteX3" fmla="*/ 0 w 2954421"/>
              <a:gd name="connsiteY3" fmla="*/ 0 h 4892757"/>
              <a:gd name="connsiteX4" fmla="*/ 2954421 w 2954421"/>
              <a:gd name="connsiteY4" fmla="*/ 304052 h 4892757"/>
              <a:gd name="connsiteX0" fmla="*/ 2954421 w 2954421"/>
              <a:gd name="connsiteY0" fmla="*/ 304052 h 4902282"/>
              <a:gd name="connsiteX1" fmla="*/ 2949658 w 2954421"/>
              <a:gd name="connsiteY1" fmla="*/ 4596107 h 4902282"/>
              <a:gd name="connsiteX2" fmla="*/ 0 w 2954421"/>
              <a:gd name="connsiteY2" fmla="*/ 4902282 h 4902282"/>
              <a:gd name="connsiteX3" fmla="*/ 0 w 2954421"/>
              <a:gd name="connsiteY3" fmla="*/ 0 h 4902282"/>
              <a:gd name="connsiteX4" fmla="*/ 2954421 w 2954421"/>
              <a:gd name="connsiteY4" fmla="*/ 304052 h 4902282"/>
              <a:gd name="connsiteX0" fmla="*/ 2954421 w 2954421"/>
              <a:gd name="connsiteY0" fmla="*/ 304052 h 4902282"/>
              <a:gd name="connsiteX1" fmla="*/ 2949658 w 2954421"/>
              <a:gd name="connsiteY1" fmla="*/ 4596107 h 4902282"/>
              <a:gd name="connsiteX2" fmla="*/ 0 w 2954421"/>
              <a:gd name="connsiteY2" fmla="*/ 4902282 h 4902282"/>
              <a:gd name="connsiteX3" fmla="*/ 0 w 2954421"/>
              <a:gd name="connsiteY3" fmla="*/ 0 h 4902282"/>
              <a:gd name="connsiteX4" fmla="*/ 2954421 w 2954421"/>
              <a:gd name="connsiteY4" fmla="*/ 304052 h 4902282"/>
              <a:gd name="connsiteX0" fmla="*/ 2954421 w 2954421"/>
              <a:gd name="connsiteY0" fmla="*/ 304052 h 4917522"/>
              <a:gd name="connsiteX1" fmla="*/ 2949658 w 2954421"/>
              <a:gd name="connsiteY1" fmla="*/ 4596107 h 4917522"/>
              <a:gd name="connsiteX2" fmla="*/ 0 w 2954421"/>
              <a:gd name="connsiteY2" fmla="*/ 4917522 h 4917522"/>
              <a:gd name="connsiteX3" fmla="*/ 0 w 2954421"/>
              <a:gd name="connsiteY3" fmla="*/ 0 h 4917522"/>
              <a:gd name="connsiteX4" fmla="*/ 2954421 w 2954421"/>
              <a:gd name="connsiteY4" fmla="*/ 304052 h 4917522"/>
              <a:gd name="connsiteX0" fmla="*/ 2954421 w 2954421"/>
              <a:gd name="connsiteY0" fmla="*/ 304052 h 4917522"/>
              <a:gd name="connsiteX1" fmla="*/ 2949658 w 2954421"/>
              <a:gd name="connsiteY1" fmla="*/ 4596107 h 4917522"/>
              <a:gd name="connsiteX2" fmla="*/ 0 w 2954421"/>
              <a:gd name="connsiteY2" fmla="*/ 4917522 h 4917522"/>
              <a:gd name="connsiteX3" fmla="*/ 0 w 2954421"/>
              <a:gd name="connsiteY3" fmla="*/ 0 h 4917522"/>
              <a:gd name="connsiteX4" fmla="*/ 2954421 w 2954421"/>
              <a:gd name="connsiteY4" fmla="*/ 304052 h 4917522"/>
              <a:gd name="connsiteX0" fmla="*/ 2954421 w 2965163"/>
              <a:gd name="connsiteY0" fmla="*/ 304052 h 4917522"/>
              <a:gd name="connsiteX1" fmla="*/ 2964898 w 2965163"/>
              <a:gd name="connsiteY1" fmla="*/ 4596107 h 4917522"/>
              <a:gd name="connsiteX2" fmla="*/ 0 w 2965163"/>
              <a:gd name="connsiteY2" fmla="*/ 4917522 h 4917522"/>
              <a:gd name="connsiteX3" fmla="*/ 0 w 2965163"/>
              <a:gd name="connsiteY3" fmla="*/ 0 h 4917522"/>
              <a:gd name="connsiteX4" fmla="*/ 2954421 w 2965163"/>
              <a:gd name="connsiteY4" fmla="*/ 304052 h 4917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5163" h="4917522">
                <a:moveTo>
                  <a:pt x="2954421" y="304052"/>
                </a:moveTo>
                <a:cubicBezTo>
                  <a:pt x="2952833" y="1734737"/>
                  <a:pt x="2967279" y="2450079"/>
                  <a:pt x="2964898" y="4596107"/>
                </a:cubicBezTo>
                <a:lnTo>
                  <a:pt x="0" y="4917522"/>
                </a:lnTo>
                <a:lnTo>
                  <a:pt x="0" y="0"/>
                </a:lnTo>
                <a:lnTo>
                  <a:pt x="2954421" y="304052"/>
                </a:lnTo>
                <a:close/>
              </a:path>
            </a:pathLst>
          </a:custGeom>
          <a:solidFill>
            <a:schemeClr val="bg1">
              <a:lumMod val="65000"/>
            </a:schemeClr>
          </a:solidFill>
          <a:ln>
            <a:noFill/>
          </a:ln>
        </p:spPr>
        <p:txBody>
          <a:bodyPr wrap="square">
            <a:noAutofit/>
          </a:bodyPr>
          <a:lstStyle/>
          <a:p>
            <a:endParaRPr lang="en-US" dirty="0"/>
          </a:p>
        </p:txBody>
      </p:sp>
      <p:sp>
        <p:nvSpPr>
          <p:cNvPr id="26" name="Picture Placeholder 25"/>
          <p:cNvSpPr>
            <a:spLocks noGrp="1"/>
          </p:cNvSpPr>
          <p:nvPr>
            <p:ph type="pic" sz="quarter" idx="13"/>
          </p:nvPr>
        </p:nvSpPr>
        <p:spPr>
          <a:xfrm>
            <a:off x="5305019" y="762237"/>
            <a:ext cx="2949659" cy="4906417"/>
          </a:xfrm>
          <a:custGeom>
            <a:avLst/>
            <a:gdLst>
              <a:gd name="connsiteX0" fmla="*/ 2949658 w 2949658"/>
              <a:gd name="connsiteY0" fmla="*/ 0 h 4906417"/>
              <a:gd name="connsiteX1" fmla="*/ 2949658 w 2949658"/>
              <a:gd name="connsiteY1" fmla="*/ 4906417 h 4906417"/>
              <a:gd name="connsiteX2" fmla="*/ 0 w 2949658"/>
              <a:gd name="connsiteY2" fmla="*/ 4593467 h 4906417"/>
              <a:gd name="connsiteX3" fmla="*/ 0 w 2949658"/>
              <a:gd name="connsiteY3" fmla="*/ 310310 h 4906417"/>
            </a:gdLst>
            <a:ahLst/>
            <a:cxnLst>
              <a:cxn ang="0">
                <a:pos x="connsiteX0" y="connsiteY0"/>
              </a:cxn>
              <a:cxn ang="0">
                <a:pos x="connsiteX1" y="connsiteY1"/>
              </a:cxn>
              <a:cxn ang="0">
                <a:pos x="connsiteX2" y="connsiteY2"/>
              </a:cxn>
              <a:cxn ang="0">
                <a:pos x="connsiteX3" y="connsiteY3"/>
              </a:cxn>
            </a:cxnLst>
            <a:rect l="l" t="t" r="r" b="b"/>
            <a:pathLst>
              <a:path w="2949658" h="4906417">
                <a:moveTo>
                  <a:pt x="2949658" y="0"/>
                </a:moveTo>
                <a:lnTo>
                  <a:pt x="2949658" y="4906417"/>
                </a:lnTo>
                <a:lnTo>
                  <a:pt x="0" y="4593467"/>
                </a:lnTo>
                <a:lnTo>
                  <a:pt x="0" y="310310"/>
                </a:lnTo>
                <a:close/>
              </a:path>
            </a:pathLst>
          </a:custGeom>
          <a:solidFill>
            <a:schemeClr val="bg1">
              <a:lumMod val="85000"/>
            </a:schemeClr>
          </a:solidFill>
          <a:ln>
            <a:noFill/>
          </a:ln>
        </p:spPr>
        <p:txBody>
          <a:bodyPr wrap="square">
            <a:noAutofit/>
          </a:bodyPr>
          <a:lstStyle/>
          <a:p>
            <a:endParaRPr lang="en-US" dirty="0"/>
          </a:p>
        </p:txBody>
      </p:sp>
      <p:sp>
        <p:nvSpPr>
          <p:cNvPr id="2" name="Title 1"/>
          <p:cNvSpPr>
            <a:spLocks noGrp="1"/>
          </p:cNvSpPr>
          <p:nvPr userDrawn="1">
            <p:ph type="title"/>
          </p:nvPr>
        </p:nvSpPr>
        <p:spPr>
          <a:xfrm>
            <a:off x="423304" y="444483"/>
            <a:ext cx="3523665" cy="1939902"/>
          </a:xfrm>
        </p:spPr>
        <p:txBody>
          <a:bodyPr/>
          <a:lstStyle/>
          <a:p>
            <a:r>
              <a:rPr lang="en-US"/>
              <a:t>Click to edit Master title style</a:t>
            </a:r>
          </a:p>
        </p:txBody>
      </p:sp>
      <p:sp>
        <p:nvSpPr>
          <p:cNvPr id="3" name="Date Placeholder 2"/>
          <p:cNvSpPr>
            <a:spLocks noGrp="1"/>
          </p:cNvSpPr>
          <p:nvPr userDrawn="1">
            <p:ph type="dt" sz="half" idx="10"/>
          </p:nvPr>
        </p:nvSpPr>
        <p:spPr/>
        <p:txBody>
          <a:bodyPr/>
          <a:lstStyle/>
          <a:p>
            <a:fld id="{9A48EDAF-EC74-4079-969E-E8B3FFDEC5A7}" type="datetime1">
              <a:rPr lang="en-US" smtClean="0"/>
              <a:t>6/22/2019</a:t>
            </a:fld>
            <a:endParaRPr lang="en-US" dirty="0"/>
          </a:p>
        </p:txBody>
      </p:sp>
      <p:sp>
        <p:nvSpPr>
          <p:cNvPr id="4" name="Footer Placeholder 3"/>
          <p:cNvSpPr>
            <a:spLocks noGrp="1"/>
          </p:cNvSpPr>
          <p:nvPr userDrawn="1">
            <p:ph type="ftr" sz="quarter" idx="11"/>
          </p:nvPr>
        </p:nvSpPr>
        <p:spPr/>
        <p:txBody>
          <a:bodyPr/>
          <a:lstStyle/>
          <a:p>
            <a:endParaRPr lang="en-US" dirty="0"/>
          </a:p>
        </p:txBody>
      </p:sp>
      <p:sp>
        <p:nvSpPr>
          <p:cNvPr id="5" name="Slide Number Placeholder 4"/>
          <p:cNvSpPr>
            <a:spLocks noGrp="1"/>
          </p:cNvSpPr>
          <p:nvPr userDrawn="1">
            <p:ph type="sldNum" sz="quarter" idx="12"/>
          </p:nvPr>
        </p:nvSpPr>
        <p:spPr/>
        <p:txBody>
          <a:bodyPr/>
          <a:lstStyle/>
          <a:p>
            <a:fld id="{32ECD629-4DA5-4EAE-B174-69948CAAE2CE}" type="slidenum">
              <a:rPr lang="en-US" smtClean="0"/>
              <a:t>‹#›</a:t>
            </a:fld>
            <a:endParaRPr lang="en-US" dirty="0"/>
          </a:p>
        </p:txBody>
      </p:sp>
    </p:spTree>
    <p:extLst>
      <p:ext uri="{BB962C8B-B14F-4D97-AF65-F5344CB8AC3E}">
        <p14:creationId xmlns:p14="http://schemas.microsoft.com/office/powerpoint/2010/main" val="3602573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7_Blank">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
        <p:nvSpPr>
          <p:cNvPr id="2" name="Date Placeholder 1"/>
          <p:cNvSpPr>
            <a:spLocks noGrp="1"/>
          </p:cNvSpPr>
          <p:nvPr>
            <p:ph type="dt" sz="half" idx="10"/>
          </p:nvPr>
        </p:nvSpPr>
        <p:spPr/>
        <p:txBody>
          <a:bodyPr/>
          <a:lstStyle/>
          <a:p>
            <a:fld id="{C552A8FF-3CF1-4C18-9D43-605D02173134}" type="datetime1">
              <a:rPr lang="en-US" smtClean="0"/>
              <a:t>6/22/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2ECD629-4DA5-4EAE-B174-69948CAAE2CE}" type="slidenum">
              <a:rPr lang="en-US" smtClean="0"/>
              <a:t>‹#›</a:t>
            </a:fld>
            <a:endParaRPr lang="en-US" dirty="0"/>
          </a:p>
        </p:txBody>
      </p:sp>
    </p:spTree>
    <p:extLst>
      <p:ext uri="{BB962C8B-B14F-4D97-AF65-F5344CB8AC3E}">
        <p14:creationId xmlns:p14="http://schemas.microsoft.com/office/powerpoint/2010/main" val="2455040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FDB54-A4E5-40F0-9C29-5FB8E03825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FF7D5E-0761-40C1-B64B-1EABE2C9373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590423-9F1B-4F90-A9EE-E928D2AFF820}"/>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5" name="Footer Placeholder 4">
            <a:extLst>
              <a:ext uri="{FF2B5EF4-FFF2-40B4-BE49-F238E27FC236}">
                <a16:creationId xmlns:a16="http://schemas.microsoft.com/office/drawing/2014/main" id="{978E764F-2EFC-4176-9CBF-A4BA183573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192D63-9CA0-4636-A1AE-65F47316F312}"/>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26113330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0_Title Only">
    <p:spTree>
      <p:nvGrpSpPr>
        <p:cNvPr id="1" name=""/>
        <p:cNvGrpSpPr/>
        <p:nvPr/>
      </p:nvGrpSpPr>
      <p:grpSpPr>
        <a:xfrm>
          <a:off x="0" y="0"/>
          <a:ext cx="0" cy="0"/>
          <a:chOff x="0" y="0"/>
          <a:chExt cx="0" cy="0"/>
        </a:xfrm>
      </p:grpSpPr>
      <p:sp>
        <p:nvSpPr>
          <p:cNvPr id="9" name="Rectangle 8"/>
          <p:cNvSpPr/>
          <p:nvPr userDrawn="1"/>
        </p:nvSpPr>
        <p:spPr>
          <a:xfrm>
            <a:off x="0" y="2"/>
            <a:ext cx="12192000" cy="4504759"/>
          </a:xfrm>
          <a:prstGeom prst="rect">
            <a:avLst/>
          </a:prstGeom>
          <a:pattFill prst="pct80">
            <a:fgClr>
              <a:srgbClr val="0070C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userDrawn="1"/>
        </p:nvSpPr>
        <p:spPr>
          <a:xfrm>
            <a:off x="0" y="1576728"/>
            <a:ext cx="12192000" cy="4504759"/>
          </a:xfrm>
          <a:prstGeom prst="rect">
            <a:avLst/>
          </a:prstGeom>
          <a:pattFill prst="pct20">
            <a:fgClr>
              <a:schemeClr val="bg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Picture Placeholder 7"/>
          <p:cNvSpPr>
            <a:spLocks noGrp="1"/>
          </p:cNvSpPr>
          <p:nvPr>
            <p:ph type="pic" sz="quarter" idx="14"/>
          </p:nvPr>
        </p:nvSpPr>
        <p:spPr>
          <a:xfrm>
            <a:off x="4170444" y="1034000"/>
            <a:ext cx="3883415" cy="2426252"/>
          </a:xfrm>
          <a:solidFill>
            <a:schemeClr val="bg1">
              <a:lumMod val="85000"/>
            </a:schemeClr>
          </a:solidFill>
        </p:spPr>
        <p:txBody>
          <a:bodyPr/>
          <a:lstStyle/>
          <a:p>
            <a:endParaRPr lang="en-US"/>
          </a:p>
        </p:txBody>
      </p:sp>
      <p:sp>
        <p:nvSpPr>
          <p:cNvPr id="3" name="Date Placeholder 2"/>
          <p:cNvSpPr>
            <a:spLocks noGrp="1"/>
          </p:cNvSpPr>
          <p:nvPr>
            <p:ph type="dt" sz="half" idx="10"/>
          </p:nvPr>
        </p:nvSpPr>
        <p:spPr/>
        <p:txBody>
          <a:bodyPr/>
          <a:lstStyle/>
          <a:p>
            <a:fld id="{9A48EDAF-EC74-4079-969E-E8B3FFDEC5A7}" type="datetime1">
              <a:rPr lang="en-US" smtClean="0"/>
              <a:t>6/22/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dirty="0"/>
          </a:p>
        </p:txBody>
      </p:sp>
    </p:spTree>
    <p:extLst>
      <p:ext uri="{BB962C8B-B14F-4D97-AF65-F5344CB8AC3E}">
        <p14:creationId xmlns:p14="http://schemas.microsoft.com/office/powerpoint/2010/main" val="19455436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F293A-362D-4131-82FA-70D21E16483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CDF502B-F1B3-49C9-A728-FCB83A656CD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2005731-1DB5-415E-8D6B-79DC4D1CE905}"/>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5" name="Footer Placeholder 4">
            <a:extLst>
              <a:ext uri="{FF2B5EF4-FFF2-40B4-BE49-F238E27FC236}">
                <a16:creationId xmlns:a16="http://schemas.microsoft.com/office/drawing/2014/main" id="{21C49D19-16A5-4555-92E4-A67AC3D096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A9A198-5BE3-4BEA-890A-98FDF3A47A36}"/>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16927447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D74AF-86C2-4F4E-8F40-73331F017A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F2605D8-D2C9-4572-BDAD-2666CD8BA7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D02A114-E0EF-4C14-B05C-7068F053F7F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F3932B-A683-492B-B2D1-B96F4E137CC9}"/>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6" name="Footer Placeholder 5">
            <a:extLst>
              <a:ext uri="{FF2B5EF4-FFF2-40B4-BE49-F238E27FC236}">
                <a16:creationId xmlns:a16="http://schemas.microsoft.com/office/drawing/2014/main" id="{635A379E-0DD0-4AFF-AA75-1275000665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089CC8-1565-47F5-9381-E4D4C053D10B}"/>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2858709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727B9-1D78-475D-B389-1279A9FD403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E6D8A97-914F-4172-A992-6776E5DFB4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F0B126-229F-4FE0-A229-522A861D642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2D2609F-88EC-4EC8-B638-C9DF86C051C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504341-174B-4DBF-B9EB-F63E6E4A830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7E0C29-5C5B-4910-939B-D4239EAB697A}"/>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8" name="Footer Placeholder 7">
            <a:extLst>
              <a:ext uri="{FF2B5EF4-FFF2-40B4-BE49-F238E27FC236}">
                <a16:creationId xmlns:a16="http://schemas.microsoft.com/office/drawing/2014/main" id="{00A0959A-B01D-4682-BC42-422DA1C9D5E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9721683-91C4-47C5-AB08-19F01203A07B}"/>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2665155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05436-4220-4E49-A184-488E1C8D72E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C4DF83-A667-4462-844F-C7A583F5A1F6}"/>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4" name="Footer Placeholder 3">
            <a:extLst>
              <a:ext uri="{FF2B5EF4-FFF2-40B4-BE49-F238E27FC236}">
                <a16:creationId xmlns:a16="http://schemas.microsoft.com/office/drawing/2014/main" id="{769623F7-843B-4504-840D-A6DA829DD39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9FBF3E-89AF-44B8-8611-AEA38C06AB23}"/>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504656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C6581F-FC64-444D-9F22-6D2BD6E056E6}"/>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3" name="Footer Placeholder 2">
            <a:extLst>
              <a:ext uri="{FF2B5EF4-FFF2-40B4-BE49-F238E27FC236}">
                <a16:creationId xmlns:a16="http://schemas.microsoft.com/office/drawing/2014/main" id="{7C492666-F3A9-4C7A-9B89-7454571EBC1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757D16-574F-42CB-A6C3-CA3D446B58CA}"/>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93172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C39CF-A8BB-4D4E-AFBE-2E20B3A0BF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37EEDF-8D7D-418D-A8B3-1695EB2C5B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CCAC4D-3DE7-41D3-A8C1-64D2A0FD12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CC5EADD-031A-46DF-AF3C-CF8E455C84D5}"/>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6" name="Footer Placeholder 5">
            <a:extLst>
              <a:ext uri="{FF2B5EF4-FFF2-40B4-BE49-F238E27FC236}">
                <a16:creationId xmlns:a16="http://schemas.microsoft.com/office/drawing/2014/main" id="{C95611AD-FDBB-4B62-AB17-6138EF9B2D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0957C3-99C3-4F64-AE28-7052E2FAE784}"/>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32902101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36118-6058-4F7D-B9C4-53C8A6A44CE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86FDB3-E8E5-481B-AF03-D3BBA0AA26A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102B62B-42F7-4517-A17F-0809941316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118CBD-7B36-45EA-A129-21C3839835F6}"/>
              </a:ext>
            </a:extLst>
          </p:cNvPr>
          <p:cNvSpPr>
            <a:spLocks noGrp="1"/>
          </p:cNvSpPr>
          <p:nvPr>
            <p:ph type="dt" sz="half" idx="10"/>
          </p:nvPr>
        </p:nvSpPr>
        <p:spPr/>
        <p:txBody>
          <a:bodyPr/>
          <a:lstStyle/>
          <a:p>
            <a:fld id="{7ABDE708-8CAF-4FA3-B789-E8F0650F7D44}" type="datetimeFigureOut">
              <a:rPr lang="en-US" smtClean="0"/>
              <a:t>6/22/2019</a:t>
            </a:fld>
            <a:endParaRPr lang="en-US"/>
          </a:p>
        </p:txBody>
      </p:sp>
      <p:sp>
        <p:nvSpPr>
          <p:cNvPr id="6" name="Footer Placeholder 5">
            <a:extLst>
              <a:ext uri="{FF2B5EF4-FFF2-40B4-BE49-F238E27FC236}">
                <a16:creationId xmlns:a16="http://schemas.microsoft.com/office/drawing/2014/main" id="{F53A5955-B164-48C5-966A-E6B6553ED1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171E03-B88E-4F7C-9B5E-6C8E40E149CA}"/>
              </a:ext>
            </a:extLst>
          </p:cNvPr>
          <p:cNvSpPr>
            <a:spLocks noGrp="1"/>
          </p:cNvSpPr>
          <p:nvPr>
            <p:ph type="sldNum" sz="quarter" idx="12"/>
          </p:nvPr>
        </p:nvSpPr>
        <p:spPr/>
        <p:txBody>
          <a:bodyPr/>
          <a:lstStyle/>
          <a:p>
            <a:fld id="{347F8E52-39FE-45BD-AC71-F861374A59EA}" type="slidenum">
              <a:rPr lang="en-US" smtClean="0"/>
              <a:t>‹#›</a:t>
            </a:fld>
            <a:endParaRPr lang="en-US"/>
          </a:p>
        </p:txBody>
      </p:sp>
    </p:spTree>
    <p:extLst>
      <p:ext uri="{BB962C8B-B14F-4D97-AF65-F5344CB8AC3E}">
        <p14:creationId xmlns:p14="http://schemas.microsoft.com/office/powerpoint/2010/main" val="1104917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637ABA-1494-4254-A668-F47441AF8C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025B3-85DD-4400-AB4C-FA6235D3D1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510DA2-F4BE-4C4C-A8B6-F8B46634AF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BDE708-8CAF-4FA3-B789-E8F0650F7D44}" type="datetimeFigureOut">
              <a:rPr lang="en-US" smtClean="0"/>
              <a:t>6/22/2019</a:t>
            </a:fld>
            <a:endParaRPr lang="en-US"/>
          </a:p>
        </p:txBody>
      </p:sp>
      <p:sp>
        <p:nvSpPr>
          <p:cNvPr id="5" name="Footer Placeholder 4">
            <a:extLst>
              <a:ext uri="{FF2B5EF4-FFF2-40B4-BE49-F238E27FC236}">
                <a16:creationId xmlns:a16="http://schemas.microsoft.com/office/drawing/2014/main" id="{5F934598-091B-4A8A-9B45-6C53672374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AE2F52-1966-4FAA-9DBC-56562CA5F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7F8E52-39FE-45BD-AC71-F861374A59EA}" type="slidenum">
              <a:rPr lang="en-US" smtClean="0"/>
              <a:t>‹#›</a:t>
            </a:fld>
            <a:endParaRPr lang="en-US"/>
          </a:p>
        </p:txBody>
      </p:sp>
    </p:spTree>
    <p:extLst>
      <p:ext uri="{BB962C8B-B14F-4D97-AF65-F5344CB8AC3E}">
        <p14:creationId xmlns:p14="http://schemas.microsoft.com/office/powerpoint/2010/main" val="40624394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jpg"/><Relationship Id="rId1" Type="http://schemas.openxmlformats.org/officeDocument/2006/relationships/slideLayout" Target="../slideLayouts/slideLayout16.xml"/><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2.jpeg"/><Relationship Id="rId1" Type="http://schemas.openxmlformats.org/officeDocument/2006/relationships/slideLayout" Target="../slideLayouts/slideLayout17.xml"/><Relationship Id="rId4" Type="http://schemas.openxmlformats.org/officeDocument/2006/relationships/image" Target="../media/image7.jpg"/></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19.xml"/><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575BA7AB-6212-40C2-B5D6-42999F7D4844}"/>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3117" b="3117"/>
          <a:stretch>
            <a:fillRect/>
          </a:stretch>
        </p:blipFill>
        <p:spPr>
          <a:xfrm>
            <a:off x="3126733" y="494683"/>
            <a:ext cx="5712465" cy="3568993"/>
          </a:xfrm>
        </p:spPr>
      </p:pic>
      <p:sp>
        <p:nvSpPr>
          <p:cNvPr id="73" name="Rectangle 72"/>
          <p:cNvSpPr/>
          <p:nvPr/>
        </p:nvSpPr>
        <p:spPr>
          <a:xfrm>
            <a:off x="3502070" y="4290164"/>
            <a:ext cx="5045031" cy="512061"/>
          </a:xfrm>
          <a:prstGeom prst="rect">
            <a:avLst/>
          </a:prstGeom>
        </p:spPr>
        <p:txBody>
          <a:bodyPr vert="horz" wrap="square" lIns="91440" tIns="45720" rIns="91440" bIns="45720" rtlCol="0" anchor="ctr">
            <a:noAutofit/>
          </a:bodyPr>
          <a:lstStyle/>
          <a:p>
            <a:pPr algn="ctr">
              <a:lnSpc>
                <a:spcPct val="90000"/>
              </a:lnSpc>
              <a:spcBef>
                <a:spcPct val="0"/>
              </a:spcBef>
            </a:pPr>
            <a:r>
              <a:rPr lang="en-US" sz="3600" b="1" noProof="1">
                <a:solidFill>
                  <a:schemeClr val="tx1">
                    <a:lumMod val="90000"/>
                    <a:lumOff val="10000"/>
                  </a:schemeClr>
                </a:solidFill>
                <a:latin typeface="Arial" panose="020B0604020202020204" pitchFamily="34" charset="0"/>
                <a:ea typeface="Roboto Light" panose="02000000000000000000" pitchFamily="2" charset="0"/>
                <a:cs typeface="Open Sans Light" panose="020B0306030504020204" pitchFamily="34" charset="0"/>
              </a:rPr>
              <a:t>Real Estate Template</a:t>
            </a:r>
          </a:p>
        </p:txBody>
      </p:sp>
      <p:sp>
        <p:nvSpPr>
          <p:cNvPr id="76" name="Rectangle 75"/>
          <p:cNvSpPr/>
          <p:nvPr/>
        </p:nvSpPr>
        <p:spPr>
          <a:xfrm>
            <a:off x="2028711" y="4855638"/>
            <a:ext cx="8134579" cy="646331"/>
          </a:xfrm>
          <a:prstGeom prst="rect">
            <a:avLst/>
          </a:prstGeom>
          <a:noFill/>
        </p:spPr>
        <p:txBody>
          <a:bodyPr wrap="square">
            <a:spAutoFit/>
          </a:bodyPr>
          <a:lstStyle/>
          <a:p>
            <a:pPr algn="ctr">
              <a:buClr>
                <a:srgbClr val="E24848"/>
              </a:buClr>
              <a:defRPr/>
            </a:pPr>
            <a:r>
              <a:rPr lang="en-US" sz="1200" noProof="1">
                <a:solidFill>
                  <a:schemeClr val="tx1">
                    <a:lumMod val="90000"/>
                    <a:lumOff val="10000"/>
                  </a:schemeClr>
                </a:solidFill>
                <a:latin typeface="+mj-lt"/>
                <a:ea typeface="Roboto Light" panose="02000000000000000000" pitchFamily="2" charset="0"/>
                <a:cs typeface="Arial"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Tree>
    <p:extLst>
      <p:ext uri="{BB962C8B-B14F-4D97-AF65-F5344CB8AC3E}">
        <p14:creationId xmlns:p14="http://schemas.microsoft.com/office/powerpoint/2010/main" val="251469155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ECD629-4DA5-4EAE-B174-69948CAAE2CE}" type="slidenum">
              <a:rPr lang="en-US" smtClean="0"/>
              <a:pPr/>
              <a:t>10</a:t>
            </a:fld>
            <a:endParaRPr lang="en-US" dirty="0"/>
          </a:p>
        </p:txBody>
      </p:sp>
      <p:sp>
        <p:nvSpPr>
          <p:cNvPr id="58" name="Title 11"/>
          <p:cNvSpPr txBox="1">
            <a:spLocks/>
          </p:cNvSpPr>
          <p:nvPr/>
        </p:nvSpPr>
        <p:spPr>
          <a:xfrm>
            <a:off x="423300" y="1011823"/>
            <a:ext cx="3436056" cy="37574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400" dirty="0">
                <a:solidFill>
                  <a:schemeClr val="tx1">
                    <a:lumMod val="90000"/>
                    <a:lumOff val="10000"/>
                  </a:schemeClr>
                </a:solidFill>
                <a:latin typeface="Open Sans Light" panose="020B0306030504020204" pitchFamily="34" charset="0"/>
                <a:ea typeface="Open Sans Light" panose="020B0306030504020204" pitchFamily="34" charset="0"/>
                <a:cs typeface="Open Sans Light" panose="020B0306030504020204" pitchFamily="34" charset="0"/>
              </a:rPr>
              <a:t>Insert Your Creative Idea </a:t>
            </a:r>
          </a:p>
        </p:txBody>
      </p:sp>
      <p:sp>
        <p:nvSpPr>
          <p:cNvPr id="59" name="Title 11"/>
          <p:cNvSpPr txBox="1">
            <a:spLocks/>
          </p:cNvSpPr>
          <p:nvPr/>
        </p:nvSpPr>
        <p:spPr>
          <a:xfrm>
            <a:off x="423303" y="443389"/>
            <a:ext cx="5363028" cy="646331"/>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b="1" spc="-300" dirty="0">
                <a:solidFill>
                  <a:schemeClr val="tx1">
                    <a:lumMod val="90000"/>
                    <a:lumOff val="10000"/>
                  </a:schemeClr>
                </a:solidFill>
                <a:latin typeface="Arial" panose="020B0604020202020204" pitchFamily="34" charset="0"/>
                <a:ea typeface="Roboto Light" panose="02000000000000000000" pitchFamily="2" charset="0"/>
                <a:cs typeface="Open Sans Light" panose="020B0306030504020204" pitchFamily="34" charset="0"/>
              </a:rPr>
              <a:t>The Idea</a:t>
            </a:r>
          </a:p>
        </p:txBody>
      </p:sp>
      <p:sp>
        <p:nvSpPr>
          <p:cNvPr id="42" name="Oval 41"/>
          <p:cNvSpPr/>
          <p:nvPr/>
        </p:nvSpPr>
        <p:spPr>
          <a:xfrm flipH="1">
            <a:off x="1427022" y="1901326"/>
            <a:ext cx="2261013" cy="2261013"/>
          </a:xfrm>
          <a:prstGeom prst="ellipse">
            <a:avLst/>
          </a:prstGeom>
          <a:solidFill>
            <a:schemeClr val="tx2">
              <a:lumMod val="75000"/>
            </a:schemeClr>
          </a:solidFill>
          <a:ln w="127000">
            <a:solidFill>
              <a:schemeClr val="bg1">
                <a:lumMod val="85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3" name="Oval 42"/>
          <p:cNvSpPr/>
          <p:nvPr/>
        </p:nvSpPr>
        <p:spPr>
          <a:xfrm flipH="1">
            <a:off x="2994139" y="1901325"/>
            <a:ext cx="693896" cy="69389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44" name="Oval 43"/>
          <p:cNvSpPr/>
          <p:nvPr/>
        </p:nvSpPr>
        <p:spPr>
          <a:xfrm flipH="1">
            <a:off x="4965495" y="1901326"/>
            <a:ext cx="2261013" cy="2261013"/>
          </a:xfrm>
          <a:prstGeom prst="ellipse">
            <a:avLst/>
          </a:prstGeom>
          <a:solidFill>
            <a:schemeClr val="tx2">
              <a:lumMod val="75000"/>
            </a:schemeClr>
          </a:solidFill>
          <a:ln w="127000">
            <a:solidFill>
              <a:schemeClr val="bg1">
                <a:lumMod val="85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5" name="Oval 44"/>
          <p:cNvSpPr/>
          <p:nvPr/>
        </p:nvSpPr>
        <p:spPr>
          <a:xfrm flipH="1">
            <a:off x="6532611" y="1901325"/>
            <a:ext cx="693896" cy="69389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46" name="Oval 45"/>
          <p:cNvSpPr/>
          <p:nvPr/>
        </p:nvSpPr>
        <p:spPr>
          <a:xfrm flipH="1">
            <a:off x="8503968" y="1901326"/>
            <a:ext cx="2261013" cy="2261013"/>
          </a:xfrm>
          <a:prstGeom prst="ellipse">
            <a:avLst/>
          </a:prstGeom>
          <a:solidFill>
            <a:schemeClr val="tx2">
              <a:lumMod val="75000"/>
            </a:schemeClr>
          </a:solidFill>
          <a:ln w="127000">
            <a:solidFill>
              <a:schemeClr val="bg1">
                <a:lumMod val="85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7" name="Oval 46"/>
          <p:cNvSpPr/>
          <p:nvPr/>
        </p:nvSpPr>
        <p:spPr>
          <a:xfrm flipH="1">
            <a:off x="10071084" y="1901325"/>
            <a:ext cx="693896" cy="69389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48" name="Title 1"/>
          <p:cNvSpPr txBox="1">
            <a:spLocks/>
          </p:cNvSpPr>
          <p:nvPr/>
        </p:nvSpPr>
        <p:spPr>
          <a:xfrm>
            <a:off x="1427022" y="4315668"/>
            <a:ext cx="2261343" cy="40236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200" b="0" kern="1200">
                <a:solidFill>
                  <a:srgbClr val="00B0F0"/>
                </a:solidFill>
                <a:latin typeface="Source Sans Pro Light" panose="020B0403030403020204" pitchFamily="34" charset="0"/>
                <a:ea typeface="Open Sans Extrabold" panose="020B0906030804020204" pitchFamily="34" charset="0"/>
                <a:cs typeface="Open Sans Extrabold" panose="020B0906030804020204" pitchFamily="34" charset="0"/>
              </a:defRPr>
            </a:lvl1pPr>
          </a:lstStyle>
          <a:p>
            <a:r>
              <a:rPr lang="id-ID"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MAKE IT CONCEPT</a:t>
            </a:r>
          </a:p>
        </p:txBody>
      </p:sp>
      <p:sp>
        <p:nvSpPr>
          <p:cNvPr id="49" name="TextBox 48"/>
          <p:cNvSpPr txBox="1"/>
          <p:nvPr/>
        </p:nvSpPr>
        <p:spPr>
          <a:xfrm flipH="1">
            <a:off x="1439897" y="4856233"/>
            <a:ext cx="2248467" cy="769441"/>
          </a:xfrm>
          <a:prstGeom prst="rect">
            <a:avLst/>
          </a:prstGeom>
          <a:noFill/>
        </p:spPr>
        <p:txBody>
          <a:bodyPr wrap="square" rtlCol="0">
            <a:spAutoFit/>
          </a:bodyPr>
          <a:lstStyle/>
          <a:p>
            <a:pPr algn="ctr"/>
            <a:r>
              <a:rPr lang="id-ID" sz="1100" dirty="0">
                <a:solidFill>
                  <a:schemeClr val="tx1">
                    <a:lumMod val="65000"/>
                    <a:lumOff val="35000"/>
                  </a:schemeClr>
                </a:solidFill>
                <a:ea typeface="Open Sans Light" panose="020B0306030504020204" pitchFamily="34" charset="0"/>
                <a:cs typeface="Open Sans Light" panose="020B0306030504020204" pitchFamily="34" charset="0"/>
              </a:rPr>
              <a:t>Lorem ipsum dolor sit amet, consectetur adipiscing elit. Fusce suscipit neque non libero aliquam, ut facilisis lacus pretium. </a:t>
            </a:r>
          </a:p>
        </p:txBody>
      </p:sp>
      <p:sp>
        <p:nvSpPr>
          <p:cNvPr id="50" name="Rounded Rectangle 49"/>
          <p:cNvSpPr/>
          <p:nvPr/>
        </p:nvSpPr>
        <p:spPr>
          <a:xfrm>
            <a:off x="2274193" y="4718036"/>
            <a:ext cx="566671" cy="252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1" name="Title 1"/>
          <p:cNvSpPr txBox="1">
            <a:spLocks/>
          </p:cNvSpPr>
          <p:nvPr/>
        </p:nvSpPr>
        <p:spPr>
          <a:xfrm>
            <a:off x="4965166" y="4315668"/>
            <a:ext cx="2261343" cy="40236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200" b="0" kern="1200">
                <a:solidFill>
                  <a:srgbClr val="00B0F0"/>
                </a:solidFill>
                <a:latin typeface="Source Sans Pro Light" panose="020B0403030403020204" pitchFamily="34" charset="0"/>
                <a:ea typeface="Open Sans Extrabold" panose="020B0906030804020204" pitchFamily="34" charset="0"/>
                <a:cs typeface="Open Sans Extrabold" panose="020B0906030804020204" pitchFamily="34" charset="0"/>
              </a:defRPr>
            </a:lvl1pPr>
          </a:lstStyle>
          <a:p>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NALYSIS</a:t>
            </a:r>
          </a:p>
        </p:txBody>
      </p:sp>
      <p:sp>
        <p:nvSpPr>
          <p:cNvPr id="52" name="TextBox 51"/>
          <p:cNvSpPr txBox="1"/>
          <p:nvPr/>
        </p:nvSpPr>
        <p:spPr>
          <a:xfrm flipH="1">
            <a:off x="4978041" y="4856233"/>
            <a:ext cx="2248467" cy="769441"/>
          </a:xfrm>
          <a:prstGeom prst="rect">
            <a:avLst/>
          </a:prstGeom>
          <a:noFill/>
        </p:spPr>
        <p:txBody>
          <a:bodyPr wrap="square" rtlCol="0">
            <a:spAutoFit/>
          </a:bodyPr>
          <a:lstStyle/>
          <a:p>
            <a:pPr algn="ctr"/>
            <a:r>
              <a:rPr lang="id-ID" sz="1100" dirty="0">
                <a:solidFill>
                  <a:schemeClr val="tx1">
                    <a:lumMod val="65000"/>
                    <a:lumOff val="35000"/>
                  </a:schemeClr>
                </a:solidFill>
                <a:ea typeface="Open Sans Light" panose="020B0306030504020204" pitchFamily="34" charset="0"/>
                <a:cs typeface="Open Sans Light" panose="020B0306030504020204" pitchFamily="34" charset="0"/>
              </a:rPr>
              <a:t>Lorem ipsum dolor sit amet, consectetur adipiscing elit. Fusce suscipit neque non libero aliquam, ut facilisis lacus pretium. </a:t>
            </a:r>
          </a:p>
        </p:txBody>
      </p:sp>
      <p:sp>
        <p:nvSpPr>
          <p:cNvPr id="53" name="Rounded Rectangle 52"/>
          <p:cNvSpPr/>
          <p:nvPr/>
        </p:nvSpPr>
        <p:spPr>
          <a:xfrm>
            <a:off x="5812335" y="4718036"/>
            <a:ext cx="566671" cy="252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4" name="Title 1"/>
          <p:cNvSpPr txBox="1">
            <a:spLocks/>
          </p:cNvSpPr>
          <p:nvPr/>
        </p:nvSpPr>
        <p:spPr>
          <a:xfrm>
            <a:off x="8502978" y="4316565"/>
            <a:ext cx="2261343" cy="40236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200" b="0" kern="1200">
                <a:solidFill>
                  <a:srgbClr val="00B0F0"/>
                </a:solidFill>
                <a:latin typeface="Source Sans Pro Light" panose="020B0403030403020204" pitchFamily="34" charset="0"/>
                <a:ea typeface="Open Sans Extrabold" panose="020B0906030804020204" pitchFamily="34" charset="0"/>
                <a:cs typeface="Open Sans Extrabold" panose="020B0906030804020204" pitchFamily="34" charset="0"/>
              </a:defRPr>
            </a:lvl1pPr>
          </a:lstStyle>
          <a:p>
            <a:r>
              <a:rPr lang="id-ID"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RODUCT READY</a:t>
            </a:r>
          </a:p>
        </p:txBody>
      </p:sp>
      <p:sp>
        <p:nvSpPr>
          <p:cNvPr id="55" name="TextBox 54"/>
          <p:cNvSpPr txBox="1"/>
          <p:nvPr/>
        </p:nvSpPr>
        <p:spPr>
          <a:xfrm flipH="1">
            <a:off x="8515853" y="4857132"/>
            <a:ext cx="2248467" cy="769441"/>
          </a:xfrm>
          <a:prstGeom prst="rect">
            <a:avLst/>
          </a:prstGeom>
          <a:noFill/>
        </p:spPr>
        <p:txBody>
          <a:bodyPr wrap="square" rtlCol="0">
            <a:spAutoFit/>
          </a:bodyPr>
          <a:lstStyle/>
          <a:p>
            <a:pPr algn="ctr"/>
            <a:r>
              <a:rPr lang="id-ID" sz="1100" dirty="0">
                <a:solidFill>
                  <a:schemeClr val="tx1">
                    <a:lumMod val="65000"/>
                    <a:lumOff val="35000"/>
                  </a:schemeClr>
                </a:solidFill>
                <a:ea typeface="Open Sans Light" panose="020B0306030504020204" pitchFamily="34" charset="0"/>
                <a:cs typeface="Open Sans Light" panose="020B0306030504020204" pitchFamily="34" charset="0"/>
              </a:rPr>
              <a:t>Lorem ipsum dolor sit amet, consectetur adipiscing elit. Fusce suscipit neque non libero aliquam, ut facilisis lacus pretium. </a:t>
            </a:r>
          </a:p>
        </p:txBody>
      </p:sp>
      <p:sp>
        <p:nvSpPr>
          <p:cNvPr id="56" name="Rounded Rectangle 55"/>
          <p:cNvSpPr/>
          <p:nvPr/>
        </p:nvSpPr>
        <p:spPr>
          <a:xfrm>
            <a:off x="9350147" y="4718935"/>
            <a:ext cx="566671" cy="252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7" name="Title 1"/>
          <p:cNvSpPr txBox="1">
            <a:spLocks/>
          </p:cNvSpPr>
          <p:nvPr/>
        </p:nvSpPr>
        <p:spPr>
          <a:xfrm>
            <a:off x="3066487" y="2100758"/>
            <a:ext cx="549200" cy="37570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3200" b="0" kern="1200">
                <a:solidFill>
                  <a:srgbClr val="00B0F0"/>
                </a:solidFill>
                <a:latin typeface="Source Sans Pro Light" panose="020B0403030403020204" pitchFamily="34" charset="0"/>
                <a:ea typeface="Open Sans Extrabold" panose="020B0906030804020204" pitchFamily="34" charset="0"/>
                <a:cs typeface="Open Sans Extrabold" panose="020B0906030804020204" pitchFamily="34" charset="0"/>
              </a:defRPr>
            </a:lvl1pPr>
          </a:lstStyle>
          <a:p>
            <a:r>
              <a:rPr lang="id-ID" sz="2000" dirty="0">
                <a:solidFill>
                  <a:schemeClr val="tx1"/>
                </a:solidFill>
                <a:latin typeface="+mj-lt"/>
                <a:ea typeface="Open Sans Semibold" panose="020B0706030804020204" pitchFamily="34" charset="0"/>
                <a:cs typeface="Open Sans Semibold" panose="020B0706030804020204" pitchFamily="34" charset="0"/>
              </a:rPr>
              <a:t>1</a:t>
            </a:r>
          </a:p>
        </p:txBody>
      </p:sp>
      <p:sp>
        <p:nvSpPr>
          <p:cNvPr id="62" name="Title 1"/>
          <p:cNvSpPr txBox="1">
            <a:spLocks/>
          </p:cNvSpPr>
          <p:nvPr/>
        </p:nvSpPr>
        <p:spPr>
          <a:xfrm>
            <a:off x="6604959" y="2082895"/>
            <a:ext cx="549200" cy="37570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3200" b="0" kern="1200">
                <a:solidFill>
                  <a:srgbClr val="00B0F0"/>
                </a:solidFill>
                <a:latin typeface="Source Sans Pro Light" panose="020B0403030403020204" pitchFamily="34" charset="0"/>
                <a:ea typeface="Open Sans Extrabold" panose="020B0906030804020204" pitchFamily="34" charset="0"/>
                <a:cs typeface="Open Sans Extrabold" panose="020B0906030804020204" pitchFamily="34" charset="0"/>
              </a:defRPr>
            </a:lvl1pPr>
          </a:lstStyle>
          <a:p>
            <a:r>
              <a:rPr lang="id-ID" sz="2000" dirty="0">
                <a:solidFill>
                  <a:schemeClr val="tx1"/>
                </a:solidFill>
                <a:latin typeface="+mj-lt"/>
                <a:ea typeface="Open Sans Semibold" panose="020B0706030804020204" pitchFamily="34" charset="0"/>
                <a:cs typeface="Open Sans Semibold" panose="020B0706030804020204" pitchFamily="34" charset="0"/>
              </a:rPr>
              <a:t>2</a:t>
            </a:r>
          </a:p>
        </p:txBody>
      </p:sp>
      <p:sp>
        <p:nvSpPr>
          <p:cNvPr id="68" name="Title 1"/>
          <p:cNvSpPr txBox="1">
            <a:spLocks/>
          </p:cNvSpPr>
          <p:nvPr/>
        </p:nvSpPr>
        <p:spPr>
          <a:xfrm>
            <a:off x="10143432" y="2082896"/>
            <a:ext cx="549200" cy="37570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3200" b="0" kern="1200">
                <a:solidFill>
                  <a:srgbClr val="00B0F0"/>
                </a:solidFill>
                <a:latin typeface="Source Sans Pro Light" panose="020B0403030403020204" pitchFamily="34" charset="0"/>
                <a:ea typeface="Open Sans Extrabold" panose="020B0906030804020204" pitchFamily="34" charset="0"/>
                <a:cs typeface="Open Sans Extrabold" panose="020B0906030804020204" pitchFamily="34" charset="0"/>
              </a:defRPr>
            </a:lvl1pPr>
          </a:lstStyle>
          <a:p>
            <a:r>
              <a:rPr lang="id-ID" sz="2000" dirty="0">
                <a:solidFill>
                  <a:schemeClr val="tx1"/>
                </a:solidFill>
                <a:latin typeface="+mj-lt"/>
                <a:ea typeface="Open Sans Semibold" panose="020B0706030804020204" pitchFamily="34" charset="0"/>
                <a:cs typeface="Open Sans Semibold" panose="020B0706030804020204" pitchFamily="34" charset="0"/>
              </a:rPr>
              <a:t>3</a:t>
            </a:r>
          </a:p>
        </p:txBody>
      </p:sp>
      <p:cxnSp>
        <p:nvCxnSpPr>
          <p:cNvPr id="69" name="Straight Arrow Connector 68"/>
          <p:cNvCxnSpPr/>
          <p:nvPr/>
        </p:nvCxnSpPr>
        <p:spPr>
          <a:xfrm>
            <a:off x="3944543" y="3031831"/>
            <a:ext cx="772733"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7469202" y="3022101"/>
            <a:ext cx="772733"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2274193" y="2710102"/>
            <a:ext cx="686107" cy="681463"/>
            <a:chOff x="4883150" y="2468563"/>
            <a:chExt cx="703263" cy="698500"/>
          </a:xfrm>
          <a:solidFill>
            <a:schemeClr val="bg1"/>
          </a:solidFill>
        </p:grpSpPr>
        <p:sp>
          <p:nvSpPr>
            <p:cNvPr id="79" name="Freeform 103"/>
            <p:cNvSpPr>
              <a:spLocks noEditPoints="1"/>
            </p:cNvSpPr>
            <p:nvPr/>
          </p:nvSpPr>
          <p:spPr bwMode="auto">
            <a:xfrm>
              <a:off x="5149850" y="2493963"/>
              <a:ext cx="415925" cy="415925"/>
            </a:xfrm>
            <a:custGeom>
              <a:avLst/>
              <a:gdLst>
                <a:gd name="T0" fmla="*/ 59 w 262"/>
                <a:gd name="T1" fmla="*/ 0 h 262"/>
                <a:gd name="T2" fmla="*/ 44 w 262"/>
                <a:gd name="T3" fmla="*/ 3 h 262"/>
                <a:gd name="T4" fmla="*/ 29 w 262"/>
                <a:gd name="T5" fmla="*/ 8 h 262"/>
                <a:gd name="T6" fmla="*/ 18 w 262"/>
                <a:gd name="T7" fmla="*/ 17 h 262"/>
                <a:gd name="T8" fmla="*/ 8 w 262"/>
                <a:gd name="T9" fmla="*/ 30 h 262"/>
                <a:gd name="T10" fmla="*/ 2 w 262"/>
                <a:gd name="T11" fmla="*/ 43 h 262"/>
                <a:gd name="T12" fmla="*/ 0 w 262"/>
                <a:gd name="T13" fmla="*/ 59 h 262"/>
                <a:gd name="T14" fmla="*/ 2 w 262"/>
                <a:gd name="T15" fmla="*/ 75 h 262"/>
                <a:gd name="T16" fmla="*/ 8 w 262"/>
                <a:gd name="T17" fmla="*/ 88 h 262"/>
                <a:gd name="T18" fmla="*/ 18 w 262"/>
                <a:gd name="T19" fmla="*/ 101 h 262"/>
                <a:gd name="T20" fmla="*/ 162 w 262"/>
                <a:gd name="T21" fmla="*/ 245 h 262"/>
                <a:gd name="T22" fmla="*/ 175 w 262"/>
                <a:gd name="T23" fmla="*/ 254 h 262"/>
                <a:gd name="T24" fmla="*/ 188 w 262"/>
                <a:gd name="T25" fmla="*/ 260 h 262"/>
                <a:gd name="T26" fmla="*/ 203 w 262"/>
                <a:gd name="T27" fmla="*/ 262 h 262"/>
                <a:gd name="T28" fmla="*/ 219 w 262"/>
                <a:gd name="T29" fmla="*/ 260 h 262"/>
                <a:gd name="T30" fmla="*/ 234 w 262"/>
                <a:gd name="T31" fmla="*/ 254 h 262"/>
                <a:gd name="T32" fmla="*/ 245 w 262"/>
                <a:gd name="T33" fmla="*/ 245 h 262"/>
                <a:gd name="T34" fmla="*/ 256 w 262"/>
                <a:gd name="T35" fmla="*/ 230 h 262"/>
                <a:gd name="T36" fmla="*/ 262 w 262"/>
                <a:gd name="T37" fmla="*/ 212 h 262"/>
                <a:gd name="T38" fmla="*/ 262 w 262"/>
                <a:gd name="T39" fmla="*/ 195 h 262"/>
                <a:gd name="T40" fmla="*/ 257 w 262"/>
                <a:gd name="T41" fmla="*/ 177 h 262"/>
                <a:gd name="T42" fmla="*/ 245 w 262"/>
                <a:gd name="T43" fmla="*/ 162 h 262"/>
                <a:gd name="T44" fmla="*/ 101 w 262"/>
                <a:gd name="T45" fmla="*/ 17 h 262"/>
                <a:gd name="T46" fmla="*/ 88 w 262"/>
                <a:gd name="T47" fmla="*/ 8 h 262"/>
                <a:gd name="T48" fmla="*/ 75 w 262"/>
                <a:gd name="T49" fmla="*/ 3 h 262"/>
                <a:gd name="T50" fmla="*/ 59 w 262"/>
                <a:gd name="T51" fmla="*/ 0 h 262"/>
                <a:gd name="T52" fmla="*/ 59 w 262"/>
                <a:gd name="T53" fmla="*/ 0 h 262"/>
                <a:gd name="T54" fmla="*/ 59 w 262"/>
                <a:gd name="T55" fmla="*/ 27 h 262"/>
                <a:gd name="T56" fmla="*/ 71 w 262"/>
                <a:gd name="T57" fmla="*/ 30 h 262"/>
                <a:gd name="T58" fmla="*/ 82 w 262"/>
                <a:gd name="T59" fmla="*/ 37 h 262"/>
                <a:gd name="T60" fmla="*/ 226 w 262"/>
                <a:gd name="T61" fmla="*/ 182 h 262"/>
                <a:gd name="T62" fmla="*/ 232 w 262"/>
                <a:gd name="T63" fmla="*/ 191 h 262"/>
                <a:gd name="T64" fmla="*/ 235 w 262"/>
                <a:gd name="T65" fmla="*/ 203 h 262"/>
                <a:gd name="T66" fmla="*/ 232 w 262"/>
                <a:gd name="T67" fmla="*/ 215 h 262"/>
                <a:gd name="T68" fmla="*/ 226 w 262"/>
                <a:gd name="T69" fmla="*/ 225 h 262"/>
                <a:gd name="T70" fmla="*/ 215 w 262"/>
                <a:gd name="T71" fmla="*/ 233 h 262"/>
                <a:gd name="T72" fmla="*/ 203 w 262"/>
                <a:gd name="T73" fmla="*/ 234 h 262"/>
                <a:gd name="T74" fmla="*/ 192 w 262"/>
                <a:gd name="T75" fmla="*/ 233 h 262"/>
                <a:gd name="T76" fmla="*/ 181 w 262"/>
                <a:gd name="T77" fmla="*/ 225 h 262"/>
                <a:gd name="T78" fmla="*/ 37 w 262"/>
                <a:gd name="T79" fmla="*/ 81 h 262"/>
                <a:gd name="T80" fmla="*/ 31 w 262"/>
                <a:gd name="T81" fmla="*/ 71 h 262"/>
                <a:gd name="T82" fmla="*/ 28 w 262"/>
                <a:gd name="T83" fmla="*/ 59 h 262"/>
                <a:gd name="T84" fmla="*/ 31 w 262"/>
                <a:gd name="T85" fmla="*/ 47 h 262"/>
                <a:gd name="T86" fmla="*/ 37 w 262"/>
                <a:gd name="T87" fmla="*/ 37 h 262"/>
                <a:gd name="T88" fmla="*/ 48 w 262"/>
                <a:gd name="T89" fmla="*/ 30 h 262"/>
                <a:gd name="T90" fmla="*/ 59 w 262"/>
                <a:gd name="T91" fmla="*/ 2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2" h="262">
                  <a:moveTo>
                    <a:pt x="59" y="0"/>
                  </a:moveTo>
                  <a:lnTo>
                    <a:pt x="44" y="3"/>
                  </a:lnTo>
                  <a:lnTo>
                    <a:pt x="29" y="8"/>
                  </a:lnTo>
                  <a:lnTo>
                    <a:pt x="18" y="17"/>
                  </a:lnTo>
                  <a:lnTo>
                    <a:pt x="8" y="30"/>
                  </a:lnTo>
                  <a:lnTo>
                    <a:pt x="2" y="43"/>
                  </a:lnTo>
                  <a:lnTo>
                    <a:pt x="0" y="59"/>
                  </a:lnTo>
                  <a:lnTo>
                    <a:pt x="2" y="75"/>
                  </a:lnTo>
                  <a:lnTo>
                    <a:pt x="8" y="88"/>
                  </a:lnTo>
                  <a:lnTo>
                    <a:pt x="18" y="101"/>
                  </a:lnTo>
                  <a:lnTo>
                    <a:pt x="162" y="245"/>
                  </a:lnTo>
                  <a:lnTo>
                    <a:pt x="175" y="254"/>
                  </a:lnTo>
                  <a:lnTo>
                    <a:pt x="188" y="260"/>
                  </a:lnTo>
                  <a:lnTo>
                    <a:pt x="203" y="262"/>
                  </a:lnTo>
                  <a:lnTo>
                    <a:pt x="219" y="260"/>
                  </a:lnTo>
                  <a:lnTo>
                    <a:pt x="234" y="254"/>
                  </a:lnTo>
                  <a:lnTo>
                    <a:pt x="245" y="245"/>
                  </a:lnTo>
                  <a:lnTo>
                    <a:pt x="256" y="230"/>
                  </a:lnTo>
                  <a:lnTo>
                    <a:pt x="262" y="212"/>
                  </a:lnTo>
                  <a:lnTo>
                    <a:pt x="262" y="195"/>
                  </a:lnTo>
                  <a:lnTo>
                    <a:pt x="257" y="177"/>
                  </a:lnTo>
                  <a:lnTo>
                    <a:pt x="245" y="162"/>
                  </a:lnTo>
                  <a:lnTo>
                    <a:pt x="101" y="17"/>
                  </a:lnTo>
                  <a:lnTo>
                    <a:pt x="88" y="8"/>
                  </a:lnTo>
                  <a:lnTo>
                    <a:pt x="75" y="3"/>
                  </a:lnTo>
                  <a:lnTo>
                    <a:pt x="59" y="0"/>
                  </a:lnTo>
                  <a:lnTo>
                    <a:pt x="59" y="0"/>
                  </a:lnTo>
                  <a:close/>
                  <a:moveTo>
                    <a:pt x="59" y="27"/>
                  </a:moveTo>
                  <a:lnTo>
                    <a:pt x="71" y="30"/>
                  </a:lnTo>
                  <a:lnTo>
                    <a:pt x="82" y="37"/>
                  </a:lnTo>
                  <a:lnTo>
                    <a:pt x="226" y="182"/>
                  </a:lnTo>
                  <a:lnTo>
                    <a:pt x="232" y="191"/>
                  </a:lnTo>
                  <a:lnTo>
                    <a:pt x="235" y="203"/>
                  </a:lnTo>
                  <a:lnTo>
                    <a:pt x="232" y="215"/>
                  </a:lnTo>
                  <a:lnTo>
                    <a:pt x="226" y="225"/>
                  </a:lnTo>
                  <a:lnTo>
                    <a:pt x="215" y="233"/>
                  </a:lnTo>
                  <a:lnTo>
                    <a:pt x="203" y="234"/>
                  </a:lnTo>
                  <a:lnTo>
                    <a:pt x="192" y="233"/>
                  </a:lnTo>
                  <a:lnTo>
                    <a:pt x="181" y="225"/>
                  </a:lnTo>
                  <a:lnTo>
                    <a:pt x="37" y="81"/>
                  </a:lnTo>
                  <a:lnTo>
                    <a:pt x="31" y="71"/>
                  </a:lnTo>
                  <a:lnTo>
                    <a:pt x="28" y="59"/>
                  </a:lnTo>
                  <a:lnTo>
                    <a:pt x="31" y="47"/>
                  </a:lnTo>
                  <a:lnTo>
                    <a:pt x="37" y="37"/>
                  </a:lnTo>
                  <a:lnTo>
                    <a:pt x="48" y="30"/>
                  </a:lnTo>
                  <a:lnTo>
                    <a:pt x="59" y="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80" name="Freeform 104"/>
            <p:cNvSpPr>
              <a:spLocks/>
            </p:cNvSpPr>
            <p:nvPr/>
          </p:nvSpPr>
          <p:spPr bwMode="auto">
            <a:xfrm>
              <a:off x="5414963" y="2782888"/>
              <a:ext cx="46037" cy="42863"/>
            </a:xfrm>
            <a:custGeom>
              <a:avLst/>
              <a:gdLst>
                <a:gd name="T0" fmla="*/ 21 w 29"/>
                <a:gd name="T1" fmla="*/ 27 h 27"/>
                <a:gd name="T2" fmla="*/ 19 w 29"/>
                <a:gd name="T3" fmla="*/ 27 h 27"/>
                <a:gd name="T4" fmla="*/ 17 w 29"/>
                <a:gd name="T5" fmla="*/ 26 h 27"/>
                <a:gd name="T6" fmla="*/ 2 w 29"/>
                <a:gd name="T7" fmla="*/ 12 h 27"/>
                <a:gd name="T8" fmla="*/ 0 w 29"/>
                <a:gd name="T9" fmla="*/ 9 h 27"/>
                <a:gd name="T10" fmla="*/ 0 w 29"/>
                <a:gd name="T11" fmla="*/ 6 h 27"/>
                <a:gd name="T12" fmla="*/ 0 w 29"/>
                <a:gd name="T13" fmla="*/ 4 h 27"/>
                <a:gd name="T14" fmla="*/ 2 w 29"/>
                <a:gd name="T15" fmla="*/ 1 h 27"/>
                <a:gd name="T16" fmla="*/ 4 w 29"/>
                <a:gd name="T17" fmla="*/ 0 h 27"/>
                <a:gd name="T18" fmla="*/ 6 w 29"/>
                <a:gd name="T19" fmla="*/ 0 h 27"/>
                <a:gd name="T20" fmla="*/ 9 w 29"/>
                <a:gd name="T21" fmla="*/ 0 h 27"/>
                <a:gd name="T22" fmla="*/ 12 w 29"/>
                <a:gd name="T23" fmla="*/ 1 h 27"/>
                <a:gd name="T24" fmla="*/ 26 w 29"/>
                <a:gd name="T25" fmla="*/ 16 h 27"/>
                <a:gd name="T26" fmla="*/ 27 w 29"/>
                <a:gd name="T27" fmla="*/ 18 h 27"/>
                <a:gd name="T28" fmla="*/ 29 w 29"/>
                <a:gd name="T29" fmla="*/ 21 h 27"/>
                <a:gd name="T30" fmla="*/ 27 w 29"/>
                <a:gd name="T31" fmla="*/ 23 h 27"/>
                <a:gd name="T32" fmla="*/ 26 w 29"/>
                <a:gd name="T33" fmla="*/ 26 h 27"/>
                <a:gd name="T34" fmla="*/ 23 w 29"/>
                <a:gd name="T35" fmla="*/ 27 h 27"/>
                <a:gd name="T36" fmla="*/ 21 w 29"/>
                <a:gd name="T3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27">
                  <a:moveTo>
                    <a:pt x="21" y="27"/>
                  </a:moveTo>
                  <a:lnTo>
                    <a:pt x="19" y="27"/>
                  </a:lnTo>
                  <a:lnTo>
                    <a:pt x="17" y="26"/>
                  </a:lnTo>
                  <a:lnTo>
                    <a:pt x="2" y="12"/>
                  </a:lnTo>
                  <a:lnTo>
                    <a:pt x="0" y="9"/>
                  </a:lnTo>
                  <a:lnTo>
                    <a:pt x="0" y="6"/>
                  </a:lnTo>
                  <a:lnTo>
                    <a:pt x="0" y="4"/>
                  </a:lnTo>
                  <a:lnTo>
                    <a:pt x="2" y="1"/>
                  </a:lnTo>
                  <a:lnTo>
                    <a:pt x="4" y="0"/>
                  </a:lnTo>
                  <a:lnTo>
                    <a:pt x="6" y="0"/>
                  </a:lnTo>
                  <a:lnTo>
                    <a:pt x="9" y="0"/>
                  </a:lnTo>
                  <a:lnTo>
                    <a:pt x="12" y="1"/>
                  </a:lnTo>
                  <a:lnTo>
                    <a:pt x="26" y="16"/>
                  </a:lnTo>
                  <a:lnTo>
                    <a:pt x="27" y="18"/>
                  </a:lnTo>
                  <a:lnTo>
                    <a:pt x="29" y="21"/>
                  </a:lnTo>
                  <a:lnTo>
                    <a:pt x="27" y="23"/>
                  </a:lnTo>
                  <a:lnTo>
                    <a:pt x="26" y="26"/>
                  </a:lnTo>
                  <a:lnTo>
                    <a:pt x="23" y="27"/>
                  </a:lnTo>
                  <a:lnTo>
                    <a:pt x="21" y="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81" name="Freeform 105"/>
            <p:cNvSpPr>
              <a:spLocks/>
            </p:cNvSpPr>
            <p:nvPr/>
          </p:nvSpPr>
          <p:spPr bwMode="auto">
            <a:xfrm>
              <a:off x="5321300" y="2689225"/>
              <a:ext cx="68262" cy="68263"/>
            </a:xfrm>
            <a:custGeom>
              <a:avLst/>
              <a:gdLst>
                <a:gd name="T0" fmla="*/ 37 w 43"/>
                <a:gd name="T1" fmla="*/ 43 h 43"/>
                <a:gd name="T2" fmla="*/ 34 w 43"/>
                <a:gd name="T3" fmla="*/ 42 h 43"/>
                <a:gd name="T4" fmla="*/ 31 w 43"/>
                <a:gd name="T5" fmla="*/ 41 h 43"/>
                <a:gd name="T6" fmla="*/ 2 w 43"/>
                <a:gd name="T7" fmla="*/ 12 h 43"/>
                <a:gd name="T8" fmla="*/ 1 w 43"/>
                <a:gd name="T9" fmla="*/ 9 h 43"/>
                <a:gd name="T10" fmla="*/ 0 w 43"/>
                <a:gd name="T11" fmla="*/ 7 h 43"/>
                <a:gd name="T12" fmla="*/ 1 w 43"/>
                <a:gd name="T13" fmla="*/ 4 h 43"/>
                <a:gd name="T14" fmla="*/ 2 w 43"/>
                <a:gd name="T15" fmla="*/ 1 h 43"/>
                <a:gd name="T16" fmla="*/ 5 w 43"/>
                <a:gd name="T17" fmla="*/ 0 h 43"/>
                <a:gd name="T18" fmla="*/ 8 w 43"/>
                <a:gd name="T19" fmla="*/ 0 h 43"/>
                <a:gd name="T20" fmla="*/ 10 w 43"/>
                <a:gd name="T21" fmla="*/ 0 h 43"/>
                <a:gd name="T22" fmla="*/ 12 w 43"/>
                <a:gd name="T23" fmla="*/ 1 h 43"/>
                <a:gd name="T24" fmla="*/ 42 w 43"/>
                <a:gd name="T25" fmla="*/ 31 h 43"/>
                <a:gd name="T26" fmla="*/ 43 w 43"/>
                <a:gd name="T27" fmla="*/ 33 h 43"/>
                <a:gd name="T28" fmla="*/ 43 w 43"/>
                <a:gd name="T29" fmla="*/ 35 h 43"/>
                <a:gd name="T30" fmla="*/ 43 w 43"/>
                <a:gd name="T31" fmla="*/ 38 h 43"/>
                <a:gd name="T32" fmla="*/ 42 w 43"/>
                <a:gd name="T33" fmla="*/ 41 h 43"/>
                <a:gd name="T34" fmla="*/ 39 w 43"/>
                <a:gd name="T35" fmla="*/ 42 h 43"/>
                <a:gd name="T36" fmla="*/ 37 w 43"/>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3">
                  <a:moveTo>
                    <a:pt x="37" y="43"/>
                  </a:moveTo>
                  <a:lnTo>
                    <a:pt x="34" y="42"/>
                  </a:lnTo>
                  <a:lnTo>
                    <a:pt x="31" y="41"/>
                  </a:lnTo>
                  <a:lnTo>
                    <a:pt x="2" y="12"/>
                  </a:lnTo>
                  <a:lnTo>
                    <a:pt x="1" y="9"/>
                  </a:lnTo>
                  <a:lnTo>
                    <a:pt x="0" y="7"/>
                  </a:lnTo>
                  <a:lnTo>
                    <a:pt x="1" y="4"/>
                  </a:lnTo>
                  <a:lnTo>
                    <a:pt x="2" y="1"/>
                  </a:lnTo>
                  <a:lnTo>
                    <a:pt x="5" y="0"/>
                  </a:lnTo>
                  <a:lnTo>
                    <a:pt x="8" y="0"/>
                  </a:lnTo>
                  <a:lnTo>
                    <a:pt x="10" y="0"/>
                  </a:lnTo>
                  <a:lnTo>
                    <a:pt x="12" y="1"/>
                  </a:lnTo>
                  <a:lnTo>
                    <a:pt x="42" y="31"/>
                  </a:lnTo>
                  <a:lnTo>
                    <a:pt x="43" y="33"/>
                  </a:lnTo>
                  <a:lnTo>
                    <a:pt x="43" y="35"/>
                  </a:lnTo>
                  <a:lnTo>
                    <a:pt x="43" y="38"/>
                  </a:lnTo>
                  <a:lnTo>
                    <a:pt x="42" y="41"/>
                  </a:lnTo>
                  <a:lnTo>
                    <a:pt x="39" y="42"/>
                  </a:lnTo>
                  <a:lnTo>
                    <a:pt x="37" y="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82" name="Freeform 106"/>
            <p:cNvSpPr>
              <a:spLocks/>
            </p:cNvSpPr>
            <p:nvPr/>
          </p:nvSpPr>
          <p:spPr bwMode="auto">
            <a:xfrm>
              <a:off x="5287963" y="2468563"/>
              <a:ext cx="88900" cy="92075"/>
            </a:xfrm>
            <a:custGeom>
              <a:avLst/>
              <a:gdLst>
                <a:gd name="T0" fmla="*/ 14 w 56"/>
                <a:gd name="T1" fmla="*/ 58 h 58"/>
                <a:gd name="T2" fmla="*/ 10 w 56"/>
                <a:gd name="T3" fmla="*/ 56 h 58"/>
                <a:gd name="T4" fmla="*/ 6 w 56"/>
                <a:gd name="T5" fmla="*/ 55 h 58"/>
                <a:gd name="T6" fmla="*/ 4 w 56"/>
                <a:gd name="T7" fmla="*/ 53 h 58"/>
                <a:gd name="T8" fmla="*/ 1 w 56"/>
                <a:gd name="T9" fmla="*/ 50 h 58"/>
                <a:gd name="T10" fmla="*/ 0 w 56"/>
                <a:gd name="T11" fmla="*/ 46 h 58"/>
                <a:gd name="T12" fmla="*/ 0 w 56"/>
                <a:gd name="T13" fmla="*/ 41 h 58"/>
                <a:gd name="T14" fmla="*/ 1 w 56"/>
                <a:gd name="T15" fmla="*/ 37 h 58"/>
                <a:gd name="T16" fmla="*/ 4 w 56"/>
                <a:gd name="T17" fmla="*/ 34 h 58"/>
                <a:gd name="T18" fmla="*/ 33 w 56"/>
                <a:gd name="T19" fmla="*/ 4 h 58"/>
                <a:gd name="T20" fmla="*/ 37 w 56"/>
                <a:gd name="T21" fmla="*/ 2 h 58"/>
                <a:gd name="T22" fmla="*/ 41 w 56"/>
                <a:gd name="T23" fmla="*/ 0 h 58"/>
                <a:gd name="T24" fmla="*/ 44 w 56"/>
                <a:gd name="T25" fmla="*/ 0 h 58"/>
                <a:gd name="T26" fmla="*/ 50 w 56"/>
                <a:gd name="T27" fmla="*/ 2 h 58"/>
                <a:gd name="T28" fmla="*/ 52 w 56"/>
                <a:gd name="T29" fmla="*/ 4 h 58"/>
                <a:gd name="T30" fmla="*/ 55 w 56"/>
                <a:gd name="T31" fmla="*/ 8 h 58"/>
                <a:gd name="T32" fmla="*/ 56 w 56"/>
                <a:gd name="T33" fmla="*/ 12 h 58"/>
                <a:gd name="T34" fmla="*/ 56 w 56"/>
                <a:gd name="T35" fmla="*/ 16 h 58"/>
                <a:gd name="T36" fmla="*/ 55 w 56"/>
                <a:gd name="T37" fmla="*/ 20 h 58"/>
                <a:gd name="T38" fmla="*/ 52 w 56"/>
                <a:gd name="T39" fmla="*/ 24 h 58"/>
                <a:gd name="T40" fmla="*/ 23 w 56"/>
                <a:gd name="T41" fmla="*/ 53 h 58"/>
                <a:gd name="T42" fmla="*/ 21 w 56"/>
                <a:gd name="T43" fmla="*/ 55 h 58"/>
                <a:gd name="T44" fmla="*/ 17 w 56"/>
                <a:gd name="T45" fmla="*/ 56 h 58"/>
                <a:gd name="T46" fmla="*/ 14 w 56"/>
                <a:gd name="T4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 h="58">
                  <a:moveTo>
                    <a:pt x="14" y="58"/>
                  </a:moveTo>
                  <a:lnTo>
                    <a:pt x="10" y="56"/>
                  </a:lnTo>
                  <a:lnTo>
                    <a:pt x="6" y="55"/>
                  </a:lnTo>
                  <a:lnTo>
                    <a:pt x="4" y="53"/>
                  </a:lnTo>
                  <a:lnTo>
                    <a:pt x="1" y="50"/>
                  </a:lnTo>
                  <a:lnTo>
                    <a:pt x="0" y="46"/>
                  </a:lnTo>
                  <a:lnTo>
                    <a:pt x="0" y="41"/>
                  </a:lnTo>
                  <a:lnTo>
                    <a:pt x="1" y="37"/>
                  </a:lnTo>
                  <a:lnTo>
                    <a:pt x="4" y="34"/>
                  </a:lnTo>
                  <a:lnTo>
                    <a:pt x="33" y="4"/>
                  </a:lnTo>
                  <a:lnTo>
                    <a:pt x="37" y="2"/>
                  </a:lnTo>
                  <a:lnTo>
                    <a:pt x="41" y="0"/>
                  </a:lnTo>
                  <a:lnTo>
                    <a:pt x="44" y="0"/>
                  </a:lnTo>
                  <a:lnTo>
                    <a:pt x="50" y="2"/>
                  </a:lnTo>
                  <a:lnTo>
                    <a:pt x="52" y="4"/>
                  </a:lnTo>
                  <a:lnTo>
                    <a:pt x="55" y="8"/>
                  </a:lnTo>
                  <a:lnTo>
                    <a:pt x="56" y="12"/>
                  </a:lnTo>
                  <a:lnTo>
                    <a:pt x="56" y="16"/>
                  </a:lnTo>
                  <a:lnTo>
                    <a:pt x="55" y="20"/>
                  </a:lnTo>
                  <a:lnTo>
                    <a:pt x="52" y="24"/>
                  </a:lnTo>
                  <a:lnTo>
                    <a:pt x="23" y="53"/>
                  </a:lnTo>
                  <a:lnTo>
                    <a:pt x="21" y="55"/>
                  </a:lnTo>
                  <a:lnTo>
                    <a:pt x="17" y="56"/>
                  </a:lnTo>
                  <a:lnTo>
                    <a:pt x="14" y="5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83" name="Freeform 107"/>
            <p:cNvSpPr>
              <a:spLocks/>
            </p:cNvSpPr>
            <p:nvPr/>
          </p:nvSpPr>
          <p:spPr bwMode="auto">
            <a:xfrm>
              <a:off x="5497513" y="2678113"/>
              <a:ext cx="88900" cy="90488"/>
            </a:xfrm>
            <a:custGeom>
              <a:avLst/>
              <a:gdLst>
                <a:gd name="T0" fmla="*/ 13 w 56"/>
                <a:gd name="T1" fmla="*/ 57 h 57"/>
                <a:gd name="T2" fmla="*/ 9 w 56"/>
                <a:gd name="T3" fmla="*/ 57 h 57"/>
                <a:gd name="T4" fmla="*/ 7 w 56"/>
                <a:gd name="T5" fmla="*/ 55 h 57"/>
                <a:gd name="T6" fmla="*/ 4 w 56"/>
                <a:gd name="T7" fmla="*/ 53 h 57"/>
                <a:gd name="T8" fmla="*/ 1 w 56"/>
                <a:gd name="T9" fmla="*/ 49 h 57"/>
                <a:gd name="T10" fmla="*/ 0 w 56"/>
                <a:gd name="T11" fmla="*/ 45 h 57"/>
                <a:gd name="T12" fmla="*/ 0 w 56"/>
                <a:gd name="T13" fmla="*/ 41 h 57"/>
                <a:gd name="T14" fmla="*/ 1 w 56"/>
                <a:gd name="T15" fmla="*/ 37 h 57"/>
                <a:gd name="T16" fmla="*/ 4 w 56"/>
                <a:gd name="T17" fmla="*/ 33 h 57"/>
                <a:gd name="T18" fmla="*/ 33 w 56"/>
                <a:gd name="T19" fmla="*/ 4 h 57"/>
                <a:gd name="T20" fmla="*/ 37 w 56"/>
                <a:gd name="T21" fmla="*/ 2 h 57"/>
                <a:gd name="T22" fmla="*/ 41 w 56"/>
                <a:gd name="T23" fmla="*/ 0 h 57"/>
                <a:gd name="T24" fmla="*/ 45 w 56"/>
                <a:gd name="T25" fmla="*/ 0 h 57"/>
                <a:gd name="T26" fmla="*/ 49 w 56"/>
                <a:gd name="T27" fmla="*/ 2 h 57"/>
                <a:gd name="T28" fmla="*/ 53 w 56"/>
                <a:gd name="T29" fmla="*/ 4 h 57"/>
                <a:gd name="T30" fmla="*/ 55 w 56"/>
                <a:gd name="T31" fmla="*/ 7 h 57"/>
                <a:gd name="T32" fmla="*/ 56 w 56"/>
                <a:gd name="T33" fmla="*/ 12 h 57"/>
                <a:gd name="T34" fmla="*/ 56 w 56"/>
                <a:gd name="T35" fmla="*/ 16 h 57"/>
                <a:gd name="T36" fmla="*/ 55 w 56"/>
                <a:gd name="T37" fmla="*/ 20 h 57"/>
                <a:gd name="T38" fmla="*/ 53 w 56"/>
                <a:gd name="T39" fmla="*/ 24 h 57"/>
                <a:gd name="T40" fmla="*/ 22 w 56"/>
                <a:gd name="T41" fmla="*/ 53 h 57"/>
                <a:gd name="T42" fmla="*/ 20 w 56"/>
                <a:gd name="T43" fmla="*/ 55 h 57"/>
                <a:gd name="T44" fmla="*/ 17 w 56"/>
                <a:gd name="T45" fmla="*/ 57 h 57"/>
                <a:gd name="T46" fmla="*/ 13 w 56"/>
                <a:gd name="T4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 h="57">
                  <a:moveTo>
                    <a:pt x="13" y="57"/>
                  </a:moveTo>
                  <a:lnTo>
                    <a:pt x="9" y="57"/>
                  </a:lnTo>
                  <a:lnTo>
                    <a:pt x="7" y="55"/>
                  </a:lnTo>
                  <a:lnTo>
                    <a:pt x="4" y="53"/>
                  </a:lnTo>
                  <a:lnTo>
                    <a:pt x="1" y="49"/>
                  </a:lnTo>
                  <a:lnTo>
                    <a:pt x="0" y="45"/>
                  </a:lnTo>
                  <a:lnTo>
                    <a:pt x="0" y="41"/>
                  </a:lnTo>
                  <a:lnTo>
                    <a:pt x="1" y="37"/>
                  </a:lnTo>
                  <a:lnTo>
                    <a:pt x="4" y="33"/>
                  </a:lnTo>
                  <a:lnTo>
                    <a:pt x="33" y="4"/>
                  </a:lnTo>
                  <a:lnTo>
                    <a:pt x="37" y="2"/>
                  </a:lnTo>
                  <a:lnTo>
                    <a:pt x="41" y="0"/>
                  </a:lnTo>
                  <a:lnTo>
                    <a:pt x="45" y="0"/>
                  </a:lnTo>
                  <a:lnTo>
                    <a:pt x="49" y="2"/>
                  </a:lnTo>
                  <a:lnTo>
                    <a:pt x="53" y="4"/>
                  </a:lnTo>
                  <a:lnTo>
                    <a:pt x="55" y="7"/>
                  </a:lnTo>
                  <a:lnTo>
                    <a:pt x="56" y="12"/>
                  </a:lnTo>
                  <a:lnTo>
                    <a:pt x="56" y="16"/>
                  </a:lnTo>
                  <a:lnTo>
                    <a:pt x="55" y="20"/>
                  </a:lnTo>
                  <a:lnTo>
                    <a:pt x="53" y="24"/>
                  </a:lnTo>
                  <a:lnTo>
                    <a:pt x="22" y="53"/>
                  </a:lnTo>
                  <a:lnTo>
                    <a:pt x="20" y="55"/>
                  </a:lnTo>
                  <a:lnTo>
                    <a:pt x="17" y="57"/>
                  </a:lnTo>
                  <a:lnTo>
                    <a:pt x="13" y="5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84" name="Freeform 108"/>
            <p:cNvSpPr>
              <a:spLocks/>
            </p:cNvSpPr>
            <p:nvPr/>
          </p:nvSpPr>
          <p:spPr bwMode="auto">
            <a:xfrm>
              <a:off x="4883150" y="2651125"/>
              <a:ext cx="552450" cy="515938"/>
            </a:xfrm>
            <a:custGeom>
              <a:avLst/>
              <a:gdLst>
                <a:gd name="T0" fmla="*/ 64 w 348"/>
                <a:gd name="T1" fmla="*/ 324 h 325"/>
                <a:gd name="T2" fmla="*/ 9 w 348"/>
                <a:gd name="T3" fmla="*/ 309 h 325"/>
                <a:gd name="T4" fmla="*/ 2 w 348"/>
                <a:gd name="T5" fmla="*/ 304 h 325"/>
                <a:gd name="T6" fmla="*/ 0 w 348"/>
                <a:gd name="T7" fmla="*/ 295 h 325"/>
                <a:gd name="T8" fmla="*/ 3 w 348"/>
                <a:gd name="T9" fmla="*/ 287 h 325"/>
                <a:gd name="T10" fmla="*/ 39 w 348"/>
                <a:gd name="T11" fmla="*/ 235 h 325"/>
                <a:gd name="T12" fmla="*/ 60 w 348"/>
                <a:gd name="T13" fmla="*/ 181 h 325"/>
                <a:gd name="T14" fmla="*/ 74 w 348"/>
                <a:gd name="T15" fmla="*/ 127 h 325"/>
                <a:gd name="T16" fmla="*/ 94 w 348"/>
                <a:gd name="T17" fmla="*/ 79 h 325"/>
                <a:gd name="T18" fmla="*/ 131 w 348"/>
                <a:gd name="T19" fmla="*/ 37 h 325"/>
                <a:gd name="T20" fmla="*/ 183 w 348"/>
                <a:gd name="T21" fmla="*/ 7 h 325"/>
                <a:gd name="T22" fmla="*/ 216 w 348"/>
                <a:gd name="T23" fmla="*/ 0 h 325"/>
                <a:gd name="T24" fmla="*/ 223 w 348"/>
                <a:gd name="T25" fmla="*/ 4 h 325"/>
                <a:gd name="T26" fmla="*/ 226 w 348"/>
                <a:gd name="T27" fmla="*/ 12 h 325"/>
                <a:gd name="T28" fmla="*/ 225 w 348"/>
                <a:gd name="T29" fmla="*/ 21 h 325"/>
                <a:gd name="T30" fmla="*/ 220 w 348"/>
                <a:gd name="T31" fmla="*/ 27 h 325"/>
                <a:gd name="T32" fmla="*/ 192 w 348"/>
                <a:gd name="T33" fmla="*/ 33 h 325"/>
                <a:gd name="T34" fmla="*/ 149 w 348"/>
                <a:gd name="T35" fmla="*/ 58 h 325"/>
                <a:gd name="T36" fmla="*/ 117 w 348"/>
                <a:gd name="T37" fmla="*/ 93 h 325"/>
                <a:gd name="T38" fmla="*/ 100 w 348"/>
                <a:gd name="T39" fmla="*/ 137 h 325"/>
                <a:gd name="T40" fmla="*/ 85 w 348"/>
                <a:gd name="T41" fmla="*/ 193 h 325"/>
                <a:gd name="T42" fmla="*/ 58 w 348"/>
                <a:gd name="T43" fmla="*/ 258 h 325"/>
                <a:gd name="T44" fmla="*/ 70 w 348"/>
                <a:gd name="T45" fmla="*/ 296 h 325"/>
                <a:gd name="T46" fmla="*/ 142 w 348"/>
                <a:gd name="T47" fmla="*/ 292 h 325"/>
                <a:gd name="T48" fmla="*/ 213 w 348"/>
                <a:gd name="T49" fmla="*/ 273 h 325"/>
                <a:gd name="T50" fmla="*/ 269 w 348"/>
                <a:gd name="T51" fmla="*/ 240 h 325"/>
                <a:gd name="T52" fmla="*/ 301 w 348"/>
                <a:gd name="T53" fmla="*/ 201 h 325"/>
                <a:gd name="T54" fmla="*/ 316 w 348"/>
                <a:gd name="T55" fmla="*/ 157 h 325"/>
                <a:gd name="T56" fmla="*/ 320 w 348"/>
                <a:gd name="T57" fmla="*/ 131 h 325"/>
                <a:gd name="T58" fmla="*/ 326 w 348"/>
                <a:gd name="T59" fmla="*/ 125 h 325"/>
                <a:gd name="T60" fmla="*/ 335 w 348"/>
                <a:gd name="T61" fmla="*/ 122 h 325"/>
                <a:gd name="T62" fmla="*/ 343 w 348"/>
                <a:gd name="T63" fmla="*/ 125 h 325"/>
                <a:gd name="T64" fmla="*/ 347 w 348"/>
                <a:gd name="T65" fmla="*/ 133 h 325"/>
                <a:gd name="T66" fmla="*/ 344 w 348"/>
                <a:gd name="T67" fmla="*/ 163 h 325"/>
                <a:gd name="T68" fmla="*/ 324 w 348"/>
                <a:gd name="T69" fmla="*/ 215 h 325"/>
                <a:gd name="T70" fmla="*/ 290 w 348"/>
                <a:gd name="T71" fmla="*/ 257 h 325"/>
                <a:gd name="T72" fmla="*/ 235 w 348"/>
                <a:gd name="T73" fmla="*/ 292 h 325"/>
                <a:gd name="T74" fmla="*/ 167 w 348"/>
                <a:gd name="T75" fmla="*/ 316 h 325"/>
                <a:gd name="T76" fmla="*/ 94 w 348"/>
                <a:gd name="T77"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8" h="325">
                  <a:moveTo>
                    <a:pt x="94" y="325"/>
                  </a:moveTo>
                  <a:lnTo>
                    <a:pt x="64" y="324"/>
                  </a:lnTo>
                  <a:lnTo>
                    <a:pt x="35" y="319"/>
                  </a:lnTo>
                  <a:lnTo>
                    <a:pt x="9" y="309"/>
                  </a:lnTo>
                  <a:lnTo>
                    <a:pt x="5" y="307"/>
                  </a:lnTo>
                  <a:lnTo>
                    <a:pt x="2" y="304"/>
                  </a:lnTo>
                  <a:lnTo>
                    <a:pt x="0" y="300"/>
                  </a:lnTo>
                  <a:lnTo>
                    <a:pt x="0" y="295"/>
                  </a:lnTo>
                  <a:lnTo>
                    <a:pt x="1" y="291"/>
                  </a:lnTo>
                  <a:lnTo>
                    <a:pt x="3" y="287"/>
                  </a:lnTo>
                  <a:lnTo>
                    <a:pt x="24" y="262"/>
                  </a:lnTo>
                  <a:lnTo>
                    <a:pt x="39" y="235"/>
                  </a:lnTo>
                  <a:lnTo>
                    <a:pt x="51" y="209"/>
                  </a:lnTo>
                  <a:lnTo>
                    <a:pt x="60" y="181"/>
                  </a:lnTo>
                  <a:lnTo>
                    <a:pt x="68" y="155"/>
                  </a:lnTo>
                  <a:lnTo>
                    <a:pt x="74" y="127"/>
                  </a:lnTo>
                  <a:lnTo>
                    <a:pt x="83" y="103"/>
                  </a:lnTo>
                  <a:lnTo>
                    <a:pt x="94" y="79"/>
                  </a:lnTo>
                  <a:lnTo>
                    <a:pt x="110" y="58"/>
                  </a:lnTo>
                  <a:lnTo>
                    <a:pt x="131" y="37"/>
                  </a:lnTo>
                  <a:lnTo>
                    <a:pt x="157" y="20"/>
                  </a:lnTo>
                  <a:lnTo>
                    <a:pt x="183" y="7"/>
                  </a:lnTo>
                  <a:lnTo>
                    <a:pt x="212" y="0"/>
                  </a:lnTo>
                  <a:lnTo>
                    <a:pt x="216" y="0"/>
                  </a:lnTo>
                  <a:lnTo>
                    <a:pt x="220" y="2"/>
                  </a:lnTo>
                  <a:lnTo>
                    <a:pt x="223" y="4"/>
                  </a:lnTo>
                  <a:lnTo>
                    <a:pt x="226" y="8"/>
                  </a:lnTo>
                  <a:lnTo>
                    <a:pt x="226" y="12"/>
                  </a:lnTo>
                  <a:lnTo>
                    <a:pt x="226" y="17"/>
                  </a:lnTo>
                  <a:lnTo>
                    <a:pt x="225" y="21"/>
                  </a:lnTo>
                  <a:lnTo>
                    <a:pt x="222" y="24"/>
                  </a:lnTo>
                  <a:lnTo>
                    <a:pt x="220" y="27"/>
                  </a:lnTo>
                  <a:lnTo>
                    <a:pt x="214" y="28"/>
                  </a:lnTo>
                  <a:lnTo>
                    <a:pt x="192" y="33"/>
                  </a:lnTo>
                  <a:lnTo>
                    <a:pt x="170" y="44"/>
                  </a:lnTo>
                  <a:lnTo>
                    <a:pt x="149" y="58"/>
                  </a:lnTo>
                  <a:lnTo>
                    <a:pt x="131" y="76"/>
                  </a:lnTo>
                  <a:lnTo>
                    <a:pt x="117" y="93"/>
                  </a:lnTo>
                  <a:lnTo>
                    <a:pt x="108" y="114"/>
                  </a:lnTo>
                  <a:lnTo>
                    <a:pt x="100" y="137"/>
                  </a:lnTo>
                  <a:lnTo>
                    <a:pt x="94" y="161"/>
                  </a:lnTo>
                  <a:lnTo>
                    <a:pt x="85" y="193"/>
                  </a:lnTo>
                  <a:lnTo>
                    <a:pt x="74" y="226"/>
                  </a:lnTo>
                  <a:lnTo>
                    <a:pt x="58" y="258"/>
                  </a:lnTo>
                  <a:lnTo>
                    <a:pt x="38" y="290"/>
                  </a:lnTo>
                  <a:lnTo>
                    <a:pt x="70" y="296"/>
                  </a:lnTo>
                  <a:lnTo>
                    <a:pt x="107" y="298"/>
                  </a:lnTo>
                  <a:lnTo>
                    <a:pt x="142" y="292"/>
                  </a:lnTo>
                  <a:lnTo>
                    <a:pt x="179" y="284"/>
                  </a:lnTo>
                  <a:lnTo>
                    <a:pt x="213" y="273"/>
                  </a:lnTo>
                  <a:lnTo>
                    <a:pt x="243" y="257"/>
                  </a:lnTo>
                  <a:lnTo>
                    <a:pt x="269" y="240"/>
                  </a:lnTo>
                  <a:lnTo>
                    <a:pt x="288" y="220"/>
                  </a:lnTo>
                  <a:lnTo>
                    <a:pt x="301" y="201"/>
                  </a:lnTo>
                  <a:lnTo>
                    <a:pt x="310" y="180"/>
                  </a:lnTo>
                  <a:lnTo>
                    <a:pt x="316" y="157"/>
                  </a:lnTo>
                  <a:lnTo>
                    <a:pt x="319" y="135"/>
                  </a:lnTo>
                  <a:lnTo>
                    <a:pt x="320" y="131"/>
                  </a:lnTo>
                  <a:lnTo>
                    <a:pt x="323" y="127"/>
                  </a:lnTo>
                  <a:lnTo>
                    <a:pt x="326" y="125"/>
                  </a:lnTo>
                  <a:lnTo>
                    <a:pt x="330" y="122"/>
                  </a:lnTo>
                  <a:lnTo>
                    <a:pt x="335" y="122"/>
                  </a:lnTo>
                  <a:lnTo>
                    <a:pt x="339" y="123"/>
                  </a:lnTo>
                  <a:lnTo>
                    <a:pt x="343" y="125"/>
                  </a:lnTo>
                  <a:lnTo>
                    <a:pt x="345" y="129"/>
                  </a:lnTo>
                  <a:lnTo>
                    <a:pt x="347" y="133"/>
                  </a:lnTo>
                  <a:lnTo>
                    <a:pt x="348" y="137"/>
                  </a:lnTo>
                  <a:lnTo>
                    <a:pt x="344" y="163"/>
                  </a:lnTo>
                  <a:lnTo>
                    <a:pt x="336" y="189"/>
                  </a:lnTo>
                  <a:lnTo>
                    <a:pt x="324" y="215"/>
                  </a:lnTo>
                  <a:lnTo>
                    <a:pt x="310" y="237"/>
                  </a:lnTo>
                  <a:lnTo>
                    <a:pt x="290" y="257"/>
                  </a:lnTo>
                  <a:lnTo>
                    <a:pt x="265" y="277"/>
                  </a:lnTo>
                  <a:lnTo>
                    <a:pt x="235" y="292"/>
                  </a:lnTo>
                  <a:lnTo>
                    <a:pt x="203" y="307"/>
                  </a:lnTo>
                  <a:lnTo>
                    <a:pt x="167" y="316"/>
                  </a:lnTo>
                  <a:lnTo>
                    <a:pt x="131" y="322"/>
                  </a:lnTo>
                  <a:lnTo>
                    <a:pt x="94" y="3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85" name="Freeform 109"/>
            <p:cNvSpPr>
              <a:spLocks/>
            </p:cNvSpPr>
            <p:nvPr/>
          </p:nvSpPr>
          <p:spPr bwMode="auto">
            <a:xfrm>
              <a:off x="5165725" y="2841625"/>
              <a:ext cx="180975" cy="223838"/>
            </a:xfrm>
            <a:custGeom>
              <a:avLst/>
              <a:gdLst>
                <a:gd name="T0" fmla="*/ 6 w 114"/>
                <a:gd name="T1" fmla="*/ 141 h 141"/>
                <a:gd name="T2" fmla="*/ 4 w 114"/>
                <a:gd name="T3" fmla="*/ 141 h 141"/>
                <a:gd name="T4" fmla="*/ 2 w 114"/>
                <a:gd name="T5" fmla="*/ 140 h 141"/>
                <a:gd name="T6" fmla="*/ 0 w 114"/>
                <a:gd name="T7" fmla="*/ 137 h 141"/>
                <a:gd name="T8" fmla="*/ 0 w 114"/>
                <a:gd name="T9" fmla="*/ 134 h 141"/>
                <a:gd name="T10" fmla="*/ 0 w 114"/>
                <a:gd name="T11" fmla="*/ 132 h 141"/>
                <a:gd name="T12" fmla="*/ 2 w 114"/>
                <a:gd name="T13" fmla="*/ 129 h 141"/>
                <a:gd name="T14" fmla="*/ 4 w 114"/>
                <a:gd name="T15" fmla="*/ 128 h 141"/>
                <a:gd name="T16" fmla="*/ 28 w 114"/>
                <a:gd name="T17" fmla="*/ 116 h 141"/>
                <a:gd name="T18" fmla="*/ 51 w 114"/>
                <a:gd name="T19" fmla="*/ 103 h 141"/>
                <a:gd name="T20" fmla="*/ 69 w 114"/>
                <a:gd name="T21" fmla="*/ 89 h 141"/>
                <a:gd name="T22" fmla="*/ 82 w 114"/>
                <a:gd name="T23" fmla="*/ 73 h 141"/>
                <a:gd name="T24" fmla="*/ 94 w 114"/>
                <a:gd name="T25" fmla="*/ 52 h 141"/>
                <a:gd name="T26" fmla="*/ 99 w 114"/>
                <a:gd name="T27" fmla="*/ 30 h 141"/>
                <a:gd name="T28" fmla="*/ 99 w 114"/>
                <a:gd name="T29" fmla="*/ 7 h 141"/>
                <a:gd name="T30" fmla="*/ 99 w 114"/>
                <a:gd name="T31" fmla="*/ 5 h 141"/>
                <a:gd name="T32" fmla="*/ 100 w 114"/>
                <a:gd name="T33" fmla="*/ 2 h 141"/>
                <a:gd name="T34" fmla="*/ 103 w 114"/>
                <a:gd name="T35" fmla="*/ 0 h 141"/>
                <a:gd name="T36" fmla="*/ 104 w 114"/>
                <a:gd name="T37" fmla="*/ 0 h 141"/>
                <a:gd name="T38" fmla="*/ 108 w 114"/>
                <a:gd name="T39" fmla="*/ 0 h 141"/>
                <a:gd name="T40" fmla="*/ 110 w 114"/>
                <a:gd name="T41" fmla="*/ 1 h 141"/>
                <a:gd name="T42" fmla="*/ 112 w 114"/>
                <a:gd name="T43" fmla="*/ 2 h 141"/>
                <a:gd name="T44" fmla="*/ 112 w 114"/>
                <a:gd name="T45" fmla="*/ 5 h 141"/>
                <a:gd name="T46" fmla="*/ 114 w 114"/>
                <a:gd name="T47" fmla="*/ 31 h 141"/>
                <a:gd name="T48" fmla="*/ 107 w 114"/>
                <a:gd name="T49" fmla="*/ 57 h 141"/>
                <a:gd name="T50" fmla="*/ 94 w 114"/>
                <a:gd name="T51" fmla="*/ 82 h 141"/>
                <a:gd name="T52" fmla="*/ 80 w 114"/>
                <a:gd name="T53" fmla="*/ 98 h 141"/>
                <a:gd name="T54" fmla="*/ 60 w 114"/>
                <a:gd name="T55" fmla="*/ 113 h 141"/>
                <a:gd name="T56" fmla="*/ 36 w 114"/>
                <a:gd name="T57" fmla="*/ 128 h 141"/>
                <a:gd name="T58" fmla="*/ 9 w 114"/>
                <a:gd name="T59" fmla="*/ 141 h 141"/>
                <a:gd name="T60" fmla="*/ 6 w 114"/>
                <a:gd name="T6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41">
                  <a:moveTo>
                    <a:pt x="6" y="141"/>
                  </a:moveTo>
                  <a:lnTo>
                    <a:pt x="4" y="141"/>
                  </a:lnTo>
                  <a:lnTo>
                    <a:pt x="2" y="140"/>
                  </a:lnTo>
                  <a:lnTo>
                    <a:pt x="0" y="137"/>
                  </a:lnTo>
                  <a:lnTo>
                    <a:pt x="0" y="134"/>
                  </a:lnTo>
                  <a:lnTo>
                    <a:pt x="0" y="132"/>
                  </a:lnTo>
                  <a:lnTo>
                    <a:pt x="2" y="129"/>
                  </a:lnTo>
                  <a:lnTo>
                    <a:pt x="4" y="128"/>
                  </a:lnTo>
                  <a:lnTo>
                    <a:pt x="28" y="116"/>
                  </a:lnTo>
                  <a:lnTo>
                    <a:pt x="51" y="103"/>
                  </a:lnTo>
                  <a:lnTo>
                    <a:pt x="69" y="89"/>
                  </a:lnTo>
                  <a:lnTo>
                    <a:pt x="82" y="73"/>
                  </a:lnTo>
                  <a:lnTo>
                    <a:pt x="94" y="52"/>
                  </a:lnTo>
                  <a:lnTo>
                    <a:pt x="99" y="30"/>
                  </a:lnTo>
                  <a:lnTo>
                    <a:pt x="99" y="7"/>
                  </a:lnTo>
                  <a:lnTo>
                    <a:pt x="99" y="5"/>
                  </a:lnTo>
                  <a:lnTo>
                    <a:pt x="100" y="2"/>
                  </a:lnTo>
                  <a:lnTo>
                    <a:pt x="103" y="0"/>
                  </a:lnTo>
                  <a:lnTo>
                    <a:pt x="104" y="0"/>
                  </a:lnTo>
                  <a:lnTo>
                    <a:pt x="108" y="0"/>
                  </a:lnTo>
                  <a:lnTo>
                    <a:pt x="110" y="1"/>
                  </a:lnTo>
                  <a:lnTo>
                    <a:pt x="112" y="2"/>
                  </a:lnTo>
                  <a:lnTo>
                    <a:pt x="112" y="5"/>
                  </a:lnTo>
                  <a:lnTo>
                    <a:pt x="114" y="31"/>
                  </a:lnTo>
                  <a:lnTo>
                    <a:pt x="107" y="57"/>
                  </a:lnTo>
                  <a:lnTo>
                    <a:pt x="94" y="82"/>
                  </a:lnTo>
                  <a:lnTo>
                    <a:pt x="80" y="98"/>
                  </a:lnTo>
                  <a:lnTo>
                    <a:pt x="60" y="113"/>
                  </a:lnTo>
                  <a:lnTo>
                    <a:pt x="36" y="128"/>
                  </a:lnTo>
                  <a:lnTo>
                    <a:pt x="9" y="141"/>
                  </a:lnTo>
                  <a:lnTo>
                    <a:pt x="6" y="1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86" name="Freeform 110"/>
            <p:cNvSpPr>
              <a:spLocks/>
            </p:cNvSpPr>
            <p:nvPr/>
          </p:nvSpPr>
          <p:spPr bwMode="auto">
            <a:xfrm>
              <a:off x="5099050" y="3059113"/>
              <a:ext cx="46037" cy="28575"/>
            </a:xfrm>
            <a:custGeom>
              <a:avLst/>
              <a:gdLst>
                <a:gd name="T0" fmla="*/ 8 w 29"/>
                <a:gd name="T1" fmla="*/ 18 h 18"/>
                <a:gd name="T2" fmla="*/ 4 w 29"/>
                <a:gd name="T3" fmla="*/ 17 h 18"/>
                <a:gd name="T4" fmla="*/ 2 w 29"/>
                <a:gd name="T5" fmla="*/ 16 h 18"/>
                <a:gd name="T6" fmla="*/ 1 w 29"/>
                <a:gd name="T7" fmla="*/ 12 h 18"/>
                <a:gd name="T8" fmla="*/ 0 w 29"/>
                <a:gd name="T9" fmla="*/ 9 h 18"/>
                <a:gd name="T10" fmla="*/ 1 w 29"/>
                <a:gd name="T11" fmla="*/ 7 h 18"/>
                <a:gd name="T12" fmla="*/ 4 w 29"/>
                <a:gd name="T13" fmla="*/ 5 h 18"/>
                <a:gd name="T14" fmla="*/ 5 w 29"/>
                <a:gd name="T15" fmla="*/ 4 h 18"/>
                <a:gd name="T16" fmla="*/ 21 w 29"/>
                <a:gd name="T17" fmla="*/ 0 h 18"/>
                <a:gd name="T18" fmla="*/ 23 w 29"/>
                <a:gd name="T19" fmla="*/ 0 h 18"/>
                <a:gd name="T20" fmla="*/ 26 w 29"/>
                <a:gd name="T21" fmla="*/ 1 h 18"/>
                <a:gd name="T22" fmla="*/ 27 w 29"/>
                <a:gd name="T23" fmla="*/ 3 h 18"/>
                <a:gd name="T24" fmla="*/ 29 w 29"/>
                <a:gd name="T25" fmla="*/ 5 h 18"/>
                <a:gd name="T26" fmla="*/ 29 w 29"/>
                <a:gd name="T27" fmla="*/ 8 h 18"/>
                <a:gd name="T28" fmla="*/ 29 w 29"/>
                <a:gd name="T29" fmla="*/ 10 h 18"/>
                <a:gd name="T30" fmla="*/ 27 w 29"/>
                <a:gd name="T31" fmla="*/ 12 h 18"/>
                <a:gd name="T32" fmla="*/ 25 w 29"/>
                <a:gd name="T33" fmla="*/ 13 h 18"/>
                <a:gd name="T34" fmla="*/ 9 w 29"/>
                <a:gd name="T35" fmla="*/ 17 h 18"/>
                <a:gd name="T36" fmla="*/ 8 w 29"/>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8">
                  <a:moveTo>
                    <a:pt x="8" y="18"/>
                  </a:moveTo>
                  <a:lnTo>
                    <a:pt x="4" y="17"/>
                  </a:lnTo>
                  <a:lnTo>
                    <a:pt x="2" y="16"/>
                  </a:lnTo>
                  <a:lnTo>
                    <a:pt x="1" y="12"/>
                  </a:lnTo>
                  <a:lnTo>
                    <a:pt x="0" y="9"/>
                  </a:lnTo>
                  <a:lnTo>
                    <a:pt x="1" y="7"/>
                  </a:lnTo>
                  <a:lnTo>
                    <a:pt x="4" y="5"/>
                  </a:lnTo>
                  <a:lnTo>
                    <a:pt x="5" y="4"/>
                  </a:lnTo>
                  <a:lnTo>
                    <a:pt x="21" y="0"/>
                  </a:lnTo>
                  <a:lnTo>
                    <a:pt x="23" y="0"/>
                  </a:lnTo>
                  <a:lnTo>
                    <a:pt x="26" y="1"/>
                  </a:lnTo>
                  <a:lnTo>
                    <a:pt x="27" y="3"/>
                  </a:lnTo>
                  <a:lnTo>
                    <a:pt x="29" y="5"/>
                  </a:lnTo>
                  <a:lnTo>
                    <a:pt x="29" y="8"/>
                  </a:lnTo>
                  <a:lnTo>
                    <a:pt x="29" y="10"/>
                  </a:lnTo>
                  <a:lnTo>
                    <a:pt x="27" y="12"/>
                  </a:lnTo>
                  <a:lnTo>
                    <a:pt x="25" y="13"/>
                  </a:lnTo>
                  <a:lnTo>
                    <a:pt x="9" y="17"/>
                  </a:lnTo>
                  <a:lnTo>
                    <a:pt x="8" y="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101" name="Group 100"/>
          <p:cNvGrpSpPr/>
          <p:nvPr/>
        </p:nvGrpSpPr>
        <p:grpSpPr>
          <a:xfrm>
            <a:off x="5727055" y="2710102"/>
            <a:ext cx="750436" cy="750436"/>
            <a:chOff x="3648868" y="2753915"/>
            <a:chExt cx="457200" cy="457200"/>
          </a:xfrm>
          <a:solidFill>
            <a:schemeClr val="bg1"/>
          </a:solidFill>
        </p:grpSpPr>
        <p:sp>
          <p:nvSpPr>
            <p:cNvPr id="104" name="Freeform 127"/>
            <p:cNvSpPr>
              <a:spLocks noEditPoints="1"/>
            </p:cNvSpPr>
            <p:nvPr/>
          </p:nvSpPr>
          <p:spPr bwMode="auto">
            <a:xfrm>
              <a:off x="3648868" y="2753915"/>
              <a:ext cx="457200" cy="457200"/>
            </a:xfrm>
            <a:custGeom>
              <a:avLst/>
              <a:gdLst>
                <a:gd name="T0" fmla="*/ 630 w 1152"/>
                <a:gd name="T1" fmla="*/ 780 h 1152"/>
                <a:gd name="T2" fmla="*/ 534 w 1152"/>
                <a:gd name="T3" fmla="*/ 739 h 1152"/>
                <a:gd name="T4" fmla="*/ 454 w 1152"/>
                <a:gd name="T5" fmla="*/ 674 h 1152"/>
                <a:gd name="T6" fmla="*/ 395 w 1152"/>
                <a:gd name="T7" fmla="*/ 588 h 1152"/>
                <a:gd name="T8" fmla="*/ 364 w 1152"/>
                <a:gd name="T9" fmla="*/ 487 h 1152"/>
                <a:gd name="T10" fmla="*/ 364 w 1152"/>
                <a:gd name="T11" fmla="*/ 378 h 1152"/>
                <a:gd name="T12" fmla="*/ 395 w 1152"/>
                <a:gd name="T13" fmla="*/ 276 h 1152"/>
                <a:gd name="T14" fmla="*/ 454 w 1152"/>
                <a:gd name="T15" fmla="*/ 190 h 1152"/>
                <a:gd name="T16" fmla="*/ 534 w 1152"/>
                <a:gd name="T17" fmla="*/ 124 h 1152"/>
                <a:gd name="T18" fmla="*/ 630 w 1152"/>
                <a:gd name="T19" fmla="*/ 83 h 1152"/>
                <a:gd name="T20" fmla="*/ 739 w 1152"/>
                <a:gd name="T21" fmla="*/ 72 h 1152"/>
                <a:gd name="T22" fmla="*/ 844 w 1152"/>
                <a:gd name="T23" fmla="*/ 94 h 1152"/>
                <a:gd name="T24" fmla="*/ 936 w 1152"/>
                <a:gd name="T25" fmla="*/ 143 h 1152"/>
                <a:gd name="T26" fmla="*/ 1009 w 1152"/>
                <a:gd name="T27" fmla="*/ 217 h 1152"/>
                <a:gd name="T28" fmla="*/ 1059 w 1152"/>
                <a:gd name="T29" fmla="*/ 309 h 1152"/>
                <a:gd name="T30" fmla="*/ 1079 w 1152"/>
                <a:gd name="T31" fmla="*/ 413 h 1152"/>
                <a:gd name="T32" fmla="*/ 1068 w 1152"/>
                <a:gd name="T33" fmla="*/ 522 h 1152"/>
                <a:gd name="T34" fmla="*/ 1028 w 1152"/>
                <a:gd name="T35" fmla="*/ 618 h 1152"/>
                <a:gd name="T36" fmla="*/ 963 w 1152"/>
                <a:gd name="T37" fmla="*/ 698 h 1152"/>
                <a:gd name="T38" fmla="*/ 876 w 1152"/>
                <a:gd name="T39" fmla="*/ 757 h 1152"/>
                <a:gd name="T40" fmla="*/ 775 w 1152"/>
                <a:gd name="T41" fmla="*/ 788 h 1152"/>
                <a:gd name="T42" fmla="*/ 163 w 1152"/>
                <a:gd name="T43" fmla="*/ 1077 h 1152"/>
                <a:gd name="T44" fmla="*/ 127 w 1152"/>
                <a:gd name="T45" fmla="*/ 1088 h 1152"/>
                <a:gd name="T46" fmla="*/ 92 w 1152"/>
                <a:gd name="T47" fmla="*/ 1077 h 1152"/>
                <a:gd name="T48" fmla="*/ 68 w 1152"/>
                <a:gd name="T49" fmla="*/ 1049 h 1152"/>
                <a:gd name="T50" fmla="*/ 65 w 1152"/>
                <a:gd name="T51" fmla="*/ 1012 h 1152"/>
                <a:gd name="T52" fmla="*/ 83 w 1152"/>
                <a:gd name="T53" fmla="*/ 979 h 1152"/>
                <a:gd name="T54" fmla="*/ 415 w 1152"/>
                <a:gd name="T55" fmla="*/ 737 h 1152"/>
                <a:gd name="T56" fmla="*/ 719 w 1152"/>
                <a:gd name="T57" fmla="*/ 0 h 1152"/>
                <a:gd name="T58" fmla="*/ 592 w 1152"/>
                <a:gd name="T59" fmla="*/ 19 h 1152"/>
                <a:gd name="T60" fmla="*/ 479 w 1152"/>
                <a:gd name="T61" fmla="*/ 74 h 1152"/>
                <a:gd name="T62" fmla="*/ 387 w 1152"/>
                <a:gd name="T63" fmla="*/ 157 h 1152"/>
                <a:gd name="T64" fmla="*/ 322 w 1152"/>
                <a:gd name="T65" fmla="*/ 264 h 1152"/>
                <a:gd name="T66" fmla="*/ 291 w 1152"/>
                <a:gd name="T67" fmla="*/ 387 h 1152"/>
                <a:gd name="T68" fmla="*/ 302 w 1152"/>
                <a:gd name="T69" fmla="*/ 537 h 1152"/>
                <a:gd name="T70" fmla="*/ 38 w 1152"/>
                <a:gd name="T71" fmla="*/ 934 h 1152"/>
                <a:gd name="T72" fmla="*/ 2 w 1152"/>
                <a:gd name="T73" fmla="*/ 999 h 1152"/>
                <a:gd name="T74" fmla="*/ 10 w 1152"/>
                <a:gd name="T75" fmla="*/ 1074 h 1152"/>
                <a:gd name="T76" fmla="*/ 56 w 1152"/>
                <a:gd name="T77" fmla="*/ 1130 h 1152"/>
                <a:gd name="T78" fmla="*/ 127 w 1152"/>
                <a:gd name="T79" fmla="*/ 1152 h 1152"/>
                <a:gd name="T80" fmla="*/ 199 w 1152"/>
                <a:gd name="T81" fmla="*/ 1129 h 1152"/>
                <a:gd name="T82" fmla="*/ 565 w 1152"/>
                <a:gd name="T83" fmla="*/ 834 h 1152"/>
                <a:gd name="T84" fmla="*/ 719 w 1152"/>
                <a:gd name="T85" fmla="*/ 864 h 1152"/>
                <a:gd name="T86" fmla="*/ 848 w 1152"/>
                <a:gd name="T87" fmla="*/ 844 h 1152"/>
                <a:gd name="T88" fmla="*/ 961 w 1152"/>
                <a:gd name="T89" fmla="*/ 790 h 1152"/>
                <a:gd name="T90" fmla="*/ 1053 w 1152"/>
                <a:gd name="T91" fmla="*/ 707 h 1152"/>
                <a:gd name="T92" fmla="*/ 1118 w 1152"/>
                <a:gd name="T93" fmla="*/ 600 h 1152"/>
                <a:gd name="T94" fmla="*/ 1149 w 1152"/>
                <a:gd name="T95" fmla="*/ 476 h 1152"/>
                <a:gd name="T96" fmla="*/ 1143 w 1152"/>
                <a:gd name="T97" fmla="*/ 345 h 1152"/>
                <a:gd name="T98" fmla="*/ 1100 w 1152"/>
                <a:gd name="T99" fmla="*/ 226 h 1152"/>
                <a:gd name="T100" fmla="*/ 1025 w 1152"/>
                <a:gd name="T101" fmla="*/ 126 h 1152"/>
                <a:gd name="T102" fmla="*/ 926 w 1152"/>
                <a:gd name="T103" fmla="*/ 53 h 1152"/>
                <a:gd name="T104" fmla="*/ 807 w 1152"/>
                <a:gd name="T105" fmla="*/ 8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52" h="1152">
                  <a:moveTo>
                    <a:pt x="719" y="792"/>
                  </a:moveTo>
                  <a:lnTo>
                    <a:pt x="701" y="791"/>
                  </a:lnTo>
                  <a:lnTo>
                    <a:pt x="683" y="790"/>
                  </a:lnTo>
                  <a:lnTo>
                    <a:pt x="665" y="788"/>
                  </a:lnTo>
                  <a:lnTo>
                    <a:pt x="647" y="785"/>
                  </a:lnTo>
                  <a:lnTo>
                    <a:pt x="630" y="780"/>
                  </a:lnTo>
                  <a:lnTo>
                    <a:pt x="613" y="776"/>
                  </a:lnTo>
                  <a:lnTo>
                    <a:pt x="596" y="770"/>
                  </a:lnTo>
                  <a:lnTo>
                    <a:pt x="580" y="763"/>
                  </a:lnTo>
                  <a:lnTo>
                    <a:pt x="564" y="757"/>
                  </a:lnTo>
                  <a:lnTo>
                    <a:pt x="549" y="748"/>
                  </a:lnTo>
                  <a:lnTo>
                    <a:pt x="534" y="739"/>
                  </a:lnTo>
                  <a:lnTo>
                    <a:pt x="519" y="731"/>
                  </a:lnTo>
                  <a:lnTo>
                    <a:pt x="505" y="720"/>
                  </a:lnTo>
                  <a:lnTo>
                    <a:pt x="491" y="709"/>
                  </a:lnTo>
                  <a:lnTo>
                    <a:pt x="478" y="698"/>
                  </a:lnTo>
                  <a:lnTo>
                    <a:pt x="466" y="687"/>
                  </a:lnTo>
                  <a:lnTo>
                    <a:pt x="454" y="674"/>
                  </a:lnTo>
                  <a:lnTo>
                    <a:pt x="442" y="661"/>
                  </a:lnTo>
                  <a:lnTo>
                    <a:pt x="431" y="648"/>
                  </a:lnTo>
                  <a:lnTo>
                    <a:pt x="421" y="634"/>
                  </a:lnTo>
                  <a:lnTo>
                    <a:pt x="412" y="618"/>
                  </a:lnTo>
                  <a:lnTo>
                    <a:pt x="403" y="603"/>
                  </a:lnTo>
                  <a:lnTo>
                    <a:pt x="395" y="588"/>
                  </a:lnTo>
                  <a:lnTo>
                    <a:pt x="388" y="572"/>
                  </a:lnTo>
                  <a:lnTo>
                    <a:pt x="381" y="556"/>
                  </a:lnTo>
                  <a:lnTo>
                    <a:pt x="376" y="539"/>
                  </a:lnTo>
                  <a:lnTo>
                    <a:pt x="372" y="522"/>
                  </a:lnTo>
                  <a:lnTo>
                    <a:pt x="367" y="504"/>
                  </a:lnTo>
                  <a:lnTo>
                    <a:pt x="364" y="487"/>
                  </a:lnTo>
                  <a:lnTo>
                    <a:pt x="362" y="468"/>
                  </a:lnTo>
                  <a:lnTo>
                    <a:pt x="361" y="450"/>
                  </a:lnTo>
                  <a:lnTo>
                    <a:pt x="360" y="432"/>
                  </a:lnTo>
                  <a:lnTo>
                    <a:pt x="361" y="413"/>
                  </a:lnTo>
                  <a:lnTo>
                    <a:pt x="362" y="395"/>
                  </a:lnTo>
                  <a:lnTo>
                    <a:pt x="364" y="378"/>
                  </a:lnTo>
                  <a:lnTo>
                    <a:pt x="367" y="359"/>
                  </a:lnTo>
                  <a:lnTo>
                    <a:pt x="372" y="342"/>
                  </a:lnTo>
                  <a:lnTo>
                    <a:pt x="376" y="325"/>
                  </a:lnTo>
                  <a:lnTo>
                    <a:pt x="381" y="309"/>
                  </a:lnTo>
                  <a:lnTo>
                    <a:pt x="388" y="292"/>
                  </a:lnTo>
                  <a:lnTo>
                    <a:pt x="395" y="276"/>
                  </a:lnTo>
                  <a:lnTo>
                    <a:pt x="403" y="260"/>
                  </a:lnTo>
                  <a:lnTo>
                    <a:pt x="412" y="245"/>
                  </a:lnTo>
                  <a:lnTo>
                    <a:pt x="421" y="231"/>
                  </a:lnTo>
                  <a:lnTo>
                    <a:pt x="431" y="217"/>
                  </a:lnTo>
                  <a:lnTo>
                    <a:pt x="442" y="203"/>
                  </a:lnTo>
                  <a:lnTo>
                    <a:pt x="454" y="190"/>
                  </a:lnTo>
                  <a:lnTo>
                    <a:pt x="466" y="178"/>
                  </a:lnTo>
                  <a:lnTo>
                    <a:pt x="478" y="166"/>
                  </a:lnTo>
                  <a:lnTo>
                    <a:pt x="491" y="154"/>
                  </a:lnTo>
                  <a:lnTo>
                    <a:pt x="505" y="143"/>
                  </a:lnTo>
                  <a:lnTo>
                    <a:pt x="519" y="134"/>
                  </a:lnTo>
                  <a:lnTo>
                    <a:pt x="534" y="124"/>
                  </a:lnTo>
                  <a:lnTo>
                    <a:pt x="549" y="115"/>
                  </a:lnTo>
                  <a:lnTo>
                    <a:pt x="564" y="108"/>
                  </a:lnTo>
                  <a:lnTo>
                    <a:pt x="580" y="100"/>
                  </a:lnTo>
                  <a:lnTo>
                    <a:pt x="596" y="94"/>
                  </a:lnTo>
                  <a:lnTo>
                    <a:pt x="613" y="88"/>
                  </a:lnTo>
                  <a:lnTo>
                    <a:pt x="630" y="83"/>
                  </a:lnTo>
                  <a:lnTo>
                    <a:pt x="647" y="80"/>
                  </a:lnTo>
                  <a:lnTo>
                    <a:pt x="665" y="76"/>
                  </a:lnTo>
                  <a:lnTo>
                    <a:pt x="683" y="74"/>
                  </a:lnTo>
                  <a:lnTo>
                    <a:pt x="701" y="72"/>
                  </a:lnTo>
                  <a:lnTo>
                    <a:pt x="719" y="72"/>
                  </a:lnTo>
                  <a:lnTo>
                    <a:pt x="739" y="72"/>
                  </a:lnTo>
                  <a:lnTo>
                    <a:pt x="757" y="74"/>
                  </a:lnTo>
                  <a:lnTo>
                    <a:pt x="775" y="76"/>
                  </a:lnTo>
                  <a:lnTo>
                    <a:pt x="793" y="80"/>
                  </a:lnTo>
                  <a:lnTo>
                    <a:pt x="810" y="83"/>
                  </a:lnTo>
                  <a:lnTo>
                    <a:pt x="827" y="88"/>
                  </a:lnTo>
                  <a:lnTo>
                    <a:pt x="844" y="94"/>
                  </a:lnTo>
                  <a:lnTo>
                    <a:pt x="860" y="100"/>
                  </a:lnTo>
                  <a:lnTo>
                    <a:pt x="876" y="108"/>
                  </a:lnTo>
                  <a:lnTo>
                    <a:pt x="891" y="115"/>
                  </a:lnTo>
                  <a:lnTo>
                    <a:pt x="906" y="124"/>
                  </a:lnTo>
                  <a:lnTo>
                    <a:pt x="921" y="134"/>
                  </a:lnTo>
                  <a:lnTo>
                    <a:pt x="936" y="143"/>
                  </a:lnTo>
                  <a:lnTo>
                    <a:pt x="948" y="154"/>
                  </a:lnTo>
                  <a:lnTo>
                    <a:pt x="963" y="166"/>
                  </a:lnTo>
                  <a:lnTo>
                    <a:pt x="974" y="178"/>
                  </a:lnTo>
                  <a:lnTo>
                    <a:pt x="986" y="190"/>
                  </a:lnTo>
                  <a:lnTo>
                    <a:pt x="998" y="203"/>
                  </a:lnTo>
                  <a:lnTo>
                    <a:pt x="1009" y="217"/>
                  </a:lnTo>
                  <a:lnTo>
                    <a:pt x="1019" y="231"/>
                  </a:lnTo>
                  <a:lnTo>
                    <a:pt x="1028" y="245"/>
                  </a:lnTo>
                  <a:lnTo>
                    <a:pt x="1037" y="260"/>
                  </a:lnTo>
                  <a:lnTo>
                    <a:pt x="1045" y="276"/>
                  </a:lnTo>
                  <a:lnTo>
                    <a:pt x="1052" y="292"/>
                  </a:lnTo>
                  <a:lnTo>
                    <a:pt x="1059" y="309"/>
                  </a:lnTo>
                  <a:lnTo>
                    <a:pt x="1064" y="325"/>
                  </a:lnTo>
                  <a:lnTo>
                    <a:pt x="1068" y="342"/>
                  </a:lnTo>
                  <a:lnTo>
                    <a:pt x="1073" y="359"/>
                  </a:lnTo>
                  <a:lnTo>
                    <a:pt x="1076" y="378"/>
                  </a:lnTo>
                  <a:lnTo>
                    <a:pt x="1078" y="395"/>
                  </a:lnTo>
                  <a:lnTo>
                    <a:pt x="1079" y="413"/>
                  </a:lnTo>
                  <a:lnTo>
                    <a:pt x="1080" y="432"/>
                  </a:lnTo>
                  <a:lnTo>
                    <a:pt x="1079" y="450"/>
                  </a:lnTo>
                  <a:lnTo>
                    <a:pt x="1078" y="468"/>
                  </a:lnTo>
                  <a:lnTo>
                    <a:pt x="1076" y="487"/>
                  </a:lnTo>
                  <a:lnTo>
                    <a:pt x="1073" y="504"/>
                  </a:lnTo>
                  <a:lnTo>
                    <a:pt x="1068" y="522"/>
                  </a:lnTo>
                  <a:lnTo>
                    <a:pt x="1064" y="539"/>
                  </a:lnTo>
                  <a:lnTo>
                    <a:pt x="1059" y="556"/>
                  </a:lnTo>
                  <a:lnTo>
                    <a:pt x="1052" y="572"/>
                  </a:lnTo>
                  <a:lnTo>
                    <a:pt x="1045" y="588"/>
                  </a:lnTo>
                  <a:lnTo>
                    <a:pt x="1037" y="603"/>
                  </a:lnTo>
                  <a:lnTo>
                    <a:pt x="1028" y="618"/>
                  </a:lnTo>
                  <a:lnTo>
                    <a:pt x="1019" y="634"/>
                  </a:lnTo>
                  <a:lnTo>
                    <a:pt x="1009" y="648"/>
                  </a:lnTo>
                  <a:lnTo>
                    <a:pt x="998" y="661"/>
                  </a:lnTo>
                  <a:lnTo>
                    <a:pt x="986" y="674"/>
                  </a:lnTo>
                  <a:lnTo>
                    <a:pt x="974" y="687"/>
                  </a:lnTo>
                  <a:lnTo>
                    <a:pt x="963" y="698"/>
                  </a:lnTo>
                  <a:lnTo>
                    <a:pt x="948" y="709"/>
                  </a:lnTo>
                  <a:lnTo>
                    <a:pt x="936" y="720"/>
                  </a:lnTo>
                  <a:lnTo>
                    <a:pt x="921" y="731"/>
                  </a:lnTo>
                  <a:lnTo>
                    <a:pt x="906" y="739"/>
                  </a:lnTo>
                  <a:lnTo>
                    <a:pt x="891" y="748"/>
                  </a:lnTo>
                  <a:lnTo>
                    <a:pt x="876" y="757"/>
                  </a:lnTo>
                  <a:lnTo>
                    <a:pt x="860" y="763"/>
                  </a:lnTo>
                  <a:lnTo>
                    <a:pt x="844" y="770"/>
                  </a:lnTo>
                  <a:lnTo>
                    <a:pt x="827" y="776"/>
                  </a:lnTo>
                  <a:lnTo>
                    <a:pt x="810" y="780"/>
                  </a:lnTo>
                  <a:lnTo>
                    <a:pt x="793" y="785"/>
                  </a:lnTo>
                  <a:lnTo>
                    <a:pt x="775" y="788"/>
                  </a:lnTo>
                  <a:lnTo>
                    <a:pt x="757" y="790"/>
                  </a:lnTo>
                  <a:lnTo>
                    <a:pt x="739" y="791"/>
                  </a:lnTo>
                  <a:lnTo>
                    <a:pt x="719" y="792"/>
                  </a:lnTo>
                  <a:close/>
                  <a:moveTo>
                    <a:pt x="173" y="1069"/>
                  </a:moveTo>
                  <a:lnTo>
                    <a:pt x="168" y="1073"/>
                  </a:lnTo>
                  <a:lnTo>
                    <a:pt x="163" y="1077"/>
                  </a:lnTo>
                  <a:lnTo>
                    <a:pt x="158" y="1081"/>
                  </a:lnTo>
                  <a:lnTo>
                    <a:pt x="152" y="1083"/>
                  </a:lnTo>
                  <a:lnTo>
                    <a:pt x="146" y="1085"/>
                  </a:lnTo>
                  <a:lnTo>
                    <a:pt x="141" y="1087"/>
                  </a:lnTo>
                  <a:lnTo>
                    <a:pt x="134" y="1088"/>
                  </a:lnTo>
                  <a:lnTo>
                    <a:pt x="127" y="1088"/>
                  </a:lnTo>
                  <a:lnTo>
                    <a:pt x="120" y="1088"/>
                  </a:lnTo>
                  <a:lnTo>
                    <a:pt x="115" y="1087"/>
                  </a:lnTo>
                  <a:lnTo>
                    <a:pt x="108" y="1085"/>
                  </a:lnTo>
                  <a:lnTo>
                    <a:pt x="103" y="1083"/>
                  </a:lnTo>
                  <a:lnTo>
                    <a:pt x="96" y="1081"/>
                  </a:lnTo>
                  <a:lnTo>
                    <a:pt x="92" y="1077"/>
                  </a:lnTo>
                  <a:lnTo>
                    <a:pt x="87" y="1074"/>
                  </a:lnTo>
                  <a:lnTo>
                    <a:pt x="82" y="1070"/>
                  </a:lnTo>
                  <a:lnTo>
                    <a:pt x="78" y="1066"/>
                  </a:lnTo>
                  <a:lnTo>
                    <a:pt x="75" y="1060"/>
                  </a:lnTo>
                  <a:lnTo>
                    <a:pt x="71" y="1055"/>
                  </a:lnTo>
                  <a:lnTo>
                    <a:pt x="68" y="1049"/>
                  </a:lnTo>
                  <a:lnTo>
                    <a:pt x="66" y="1044"/>
                  </a:lnTo>
                  <a:lnTo>
                    <a:pt x="65" y="1038"/>
                  </a:lnTo>
                  <a:lnTo>
                    <a:pt x="64" y="1031"/>
                  </a:lnTo>
                  <a:lnTo>
                    <a:pt x="64" y="1025"/>
                  </a:lnTo>
                  <a:lnTo>
                    <a:pt x="64" y="1018"/>
                  </a:lnTo>
                  <a:lnTo>
                    <a:pt x="65" y="1012"/>
                  </a:lnTo>
                  <a:lnTo>
                    <a:pt x="66" y="1006"/>
                  </a:lnTo>
                  <a:lnTo>
                    <a:pt x="69" y="1000"/>
                  </a:lnTo>
                  <a:lnTo>
                    <a:pt x="71" y="994"/>
                  </a:lnTo>
                  <a:lnTo>
                    <a:pt x="75" y="989"/>
                  </a:lnTo>
                  <a:lnTo>
                    <a:pt x="79" y="984"/>
                  </a:lnTo>
                  <a:lnTo>
                    <a:pt x="83" y="979"/>
                  </a:lnTo>
                  <a:lnTo>
                    <a:pt x="82" y="979"/>
                  </a:lnTo>
                  <a:lnTo>
                    <a:pt x="373" y="689"/>
                  </a:lnTo>
                  <a:lnTo>
                    <a:pt x="383" y="702"/>
                  </a:lnTo>
                  <a:lnTo>
                    <a:pt x="393" y="714"/>
                  </a:lnTo>
                  <a:lnTo>
                    <a:pt x="404" y="725"/>
                  </a:lnTo>
                  <a:lnTo>
                    <a:pt x="415" y="737"/>
                  </a:lnTo>
                  <a:lnTo>
                    <a:pt x="426" y="748"/>
                  </a:lnTo>
                  <a:lnTo>
                    <a:pt x="438" y="759"/>
                  </a:lnTo>
                  <a:lnTo>
                    <a:pt x="451" y="769"/>
                  </a:lnTo>
                  <a:lnTo>
                    <a:pt x="462" y="778"/>
                  </a:lnTo>
                  <a:lnTo>
                    <a:pt x="173" y="1069"/>
                  </a:lnTo>
                  <a:close/>
                  <a:moveTo>
                    <a:pt x="719" y="0"/>
                  </a:moveTo>
                  <a:lnTo>
                    <a:pt x="698" y="1"/>
                  </a:lnTo>
                  <a:lnTo>
                    <a:pt x="676" y="2"/>
                  </a:lnTo>
                  <a:lnTo>
                    <a:pt x="655" y="5"/>
                  </a:lnTo>
                  <a:lnTo>
                    <a:pt x="633" y="8"/>
                  </a:lnTo>
                  <a:lnTo>
                    <a:pt x="611" y="14"/>
                  </a:lnTo>
                  <a:lnTo>
                    <a:pt x="592" y="19"/>
                  </a:lnTo>
                  <a:lnTo>
                    <a:pt x="572" y="27"/>
                  </a:lnTo>
                  <a:lnTo>
                    <a:pt x="552" y="34"/>
                  </a:lnTo>
                  <a:lnTo>
                    <a:pt x="533" y="43"/>
                  </a:lnTo>
                  <a:lnTo>
                    <a:pt x="514" y="53"/>
                  </a:lnTo>
                  <a:lnTo>
                    <a:pt x="496" y="62"/>
                  </a:lnTo>
                  <a:lnTo>
                    <a:pt x="479" y="74"/>
                  </a:lnTo>
                  <a:lnTo>
                    <a:pt x="461" y="86"/>
                  </a:lnTo>
                  <a:lnTo>
                    <a:pt x="445" y="99"/>
                  </a:lnTo>
                  <a:lnTo>
                    <a:pt x="430" y="112"/>
                  </a:lnTo>
                  <a:lnTo>
                    <a:pt x="415" y="126"/>
                  </a:lnTo>
                  <a:lnTo>
                    <a:pt x="400" y="141"/>
                  </a:lnTo>
                  <a:lnTo>
                    <a:pt x="387" y="157"/>
                  </a:lnTo>
                  <a:lnTo>
                    <a:pt x="374" y="174"/>
                  </a:lnTo>
                  <a:lnTo>
                    <a:pt x="362" y="191"/>
                  </a:lnTo>
                  <a:lnTo>
                    <a:pt x="350" y="208"/>
                  </a:lnTo>
                  <a:lnTo>
                    <a:pt x="340" y="226"/>
                  </a:lnTo>
                  <a:lnTo>
                    <a:pt x="331" y="245"/>
                  </a:lnTo>
                  <a:lnTo>
                    <a:pt x="322" y="264"/>
                  </a:lnTo>
                  <a:lnTo>
                    <a:pt x="314" y="284"/>
                  </a:lnTo>
                  <a:lnTo>
                    <a:pt x="307" y="303"/>
                  </a:lnTo>
                  <a:lnTo>
                    <a:pt x="302" y="324"/>
                  </a:lnTo>
                  <a:lnTo>
                    <a:pt x="297" y="345"/>
                  </a:lnTo>
                  <a:lnTo>
                    <a:pt x="293" y="366"/>
                  </a:lnTo>
                  <a:lnTo>
                    <a:pt x="291" y="387"/>
                  </a:lnTo>
                  <a:lnTo>
                    <a:pt x="289" y="410"/>
                  </a:lnTo>
                  <a:lnTo>
                    <a:pt x="287" y="432"/>
                  </a:lnTo>
                  <a:lnTo>
                    <a:pt x="289" y="459"/>
                  </a:lnTo>
                  <a:lnTo>
                    <a:pt x="292" y="486"/>
                  </a:lnTo>
                  <a:lnTo>
                    <a:pt x="295" y="512"/>
                  </a:lnTo>
                  <a:lnTo>
                    <a:pt x="302" y="537"/>
                  </a:lnTo>
                  <a:lnTo>
                    <a:pt x="308" y="562"/>
                  </a:lnTo>
                  <a:lnTo>
                    <a:pt x="317" y="587"/>
                  </a:lnTo>
                  <a:lnTo>
                    <a:pt x="326" y="611"/>
                  </a:lnTo>
                  <a:lnTo>
                    <a:pt x="338" y="634"/>
                  </a:lnTo>
                  <a:lnTo>
                    <a:pt x="38" y="934"/>
                  </a:lnTo>
                  <a:lnTo>
                    <a:pt x="38" y="934"/>
                  </a:lnTo>
                  <a:lnTo>
                    <a:pt x="29" y="944"/>
                  </a:lnTo>
                  <a:lnTo>
                    <a:pt x="22" y="953"/>
                  </a:lnTo>
                  <a:lnTo>
                    <a:pt x="15" y="964"/>
                  </a:lnTo>
                  <a:lnTo>
                    <a:pt x="10" y="975"/>
                  </a:lnTo>
                  <a:lnTo>
                    <a:pt x="6" y="987"/>
                  </a:lnTo>
                  <a:lnTo>
                    <a:pt x="2" y="999"/>
                  </a:lnTo>
                  <a:lnTo>
                    <a:pt x="0" y="1012"/>
                  </a:lnTo>
                  <a:lnTo>
                    <a:pt x="0" y="1025"/>
                  </a:lnTo>
                  <a:lnTo>
                    <a:pt x="0" y="1038"/>
                  </a:lnTo>
                  <a:lnTo>
                    <a:pt x="2" y="1050"/>
                  </a:lnTo>
                  <a:lnTo>
                    <a:pt x="6" y="1062"/>
                  </a:lnTo>
                  <a:lnTo>
                    <a:pt x="10" y="1074"/>
                  </a:lnTo>
                  <a:lnTo>
                    <a:pt x="15" y="1085"/>
                  </a:lnTo>
                  <a:lnTo>
                    <a:pt x="22" y="1096"/>
                  </a:lnTo>
                  <a:lnTo>
                    <a:pt x="29" y="1106"/>
                  </a:lnTo>
                  <a:lnTo>
                    <a:pt x="37" y="1114"/>
                  </a:lnTo>
                  <a:lnTo>
                    <a:pt x="47" y="1123"/>
                  </a:lnTo>
                  <a:lnTo>
                    <a:pt x="56" y="1130"/>
                  </a:lnTo>
                  <a:lnTo>
                    <a:pt x="66" y="1137"/>
                  </a:lnTo>
                  <a:lnTo>
                    <a:pt x="78" y="1142"/>
                  </a:lnTo>
                  <a:lnTo>
                    <a:pt x="89" y="1147"/>
                  </a:lnTo>
                  <a:lnTo>
                    <a:pt x="102" y="1150"/>
                  </a:lnTo>
                  <a:lnTo>
                    <a:pt x="114" y="1151"/>
                  </a:lnTo>
                  <a:lnTo>
                    <a:pt x="127" y="1152"/>
                  </a:lnTo>
                  <a:lnTo>
                    <a:pt x="141" y="1151"/>
                  </a:lnTo>
                  <a:lnTo>
                    <a:pt x="152" y="1149"/>
                  </a:lnTo>
                  <a:lnTo>
                    <a:pt x="165" y="1147"/>
                  </a:lnTo>
                  <a:lnTo>
                    <a:pt x="177" y="1141"/>
                  </a:lnTo>
                  <a:lnTo>
                    <a:pt x="188" y="1136"/>
                  </a:lnTo>
                  <a:lnTo>
                    <a:pt x="199" y="1129"/>
                  </a:lnTo>
                  <a:lnTo>
                    <a:pt x="209" y="1122"/>
                  </a:lnTo>
                  <a:lnTo>
                    <a:pt x="217" y="1114"/>
                  </a:lnTo>
                  <a:lnTo>
                    <a:pt x="217" y="1114"/>
                  </a:lnTo>
                  <a:lnTo>
                    <a:pt x="518" y="814"/>
                  </a:lnTo>
                  <a:lnTo>
                    <a:pt x="541" y="825"/>
                  </a:lnTo>
                  <a:lnTo>
                    <a:pt x="565" y="834"/>
                  </a:lnTo>
                  <a:lnTo>
                    <a:pt x="589" y="843"/>
                  </a:lnTo>
                  <a:lnTo>
                    <a:pt x="614" y="851"/>
                  </a:lnTo>
                  <a:lnTo>
                    <a:pt x="640" y="856"/>
                  </a:lnTo>
                  <a:lnTo>
                    <a:pt x="667" y="860"/>
                  </a:lnTo>
                  <a:lnTo>
                    <a:pt x="692" y="864"/>
                  </a:lnTo>
                  <a:lnTo>
                    <a:pt x="719" y="864"/>
                  </a:lnTo>
                  <a:lnTo>
                    <a:pt x="742" y="864"/>
                  </a:lnTo>
                  <a:lnTo>
                    <a:pt x="764" y="861"/>
                  </a:lnTo>
                  <a:lnTo>
                    <a:pt x="785" y="859"/>
                  </a:lnTo>
                  <a:lnTo>
                    <a:pt x="807" y="855"/>
                  </a:lnTo>
                  <a:lnTo>
                    <a:pt x="827" y="851"/>
                  </a:lnTo>
                  <a:lnTo>
                    <a:pt x="848" y="844"/>
                  </a:lnTo>
                  <a:lnTo>
                    <a:pt x="869" y="838"/>
                  </a:lnTo>
                  <a:lnTo>
                    <a:pt x="888" y="830"/>
                  </a:lnTo>
                  <a:lnTo>
                    <a:pt x="907" y="822"/>
                  </a:lnTo>
                  <a:lnTo>
                    <a:pt x="926" y="812"/>
                  </a:lnTo>
                  <a:lnTo>
                    <a:pt x="944" y="801"/>
                  </a:lnTo>
                  <a:lnTo>
                    <a:pt x="961" y="790"/>
                  </a:lnTo>
                  <a:lnTo>
                    <a:pt x="979" y="778"/>
                  </a:lnTo>
                  <a:lnTo>
                    <a:pt x="995" y="765"/>
                  </a:lnTo>
                  <a:lnTo>
                    <a:pt x="1010" y="751"/>
                  </a:lnTo>
                  <a:lnTo>
                    <a:pt x="1025" y="737"/>
                  </a:lnTo>
                  <a:lnTo>
                    <a:pt x="1040" y="722"/>
                  </a:lnTo>
                  <a:lnTo>
                    <a:pt x="1053" y="707"/>
                  </a:lnTo>
                  <a:lnTo>
                    <a:pt x="1066" y="691"/>
                  </a:lnTo>
                  <a:lnTo>
                    <a:pt x="1078" y="674"/>
                  </a:lnTo>
                  <a:lnTo>
                    <a:pt x="1090" y="656"/>
                  </a:lnTo>
                  <a:lnTo>
                    <a:pt x="1100" y="638"/>
                  </a:lnTo>
                  <a:lnTo>
                    <a:pt x="1109" y="620"/>
                  </a:lnTo>
                  <a:lnTo>
                    <a:pt x="1118" y="600"/>
                  </a:lnTo>
                  <a:lnTo>
                    <a:pt x="1126" y="581"/>
                  </a:lnTo>
                  <a:lnTo>
                    <a:pt x="1132" y="560"/>
                  </a:lnTo>
                  <a:lnTo>
                    <a:pt x="1139" y="540"/>
                  </a:lnTo>
                  <a:lnTo>
                    <a:pt x="1143" y="519"/>
                  </a:lnTo>
                  <a:lnTo>
                    <a:pt x="1147" y="498"/>
                  </a:lnTo>
                  <a:lnTo>
                    <a:pt x="1149" y="476"/>
                  </a:lnTo>
                  <a:lnTo>
                    <a:pt x="1152" y="454"/>
                  </a:lnTo>
                  <a:lnTo>
                    <a:pt x="1152" y="432"/>
                  </a:lnTo>
                  <a:lnTo>
                    <a:pt x="1152" y="410"/>
                  </a:lnTo>
                  <a:lnTo>
                    <a:pt x="1149" y="387"/>
                  </a:lnTo>
                  <a:lnTo>
                    <a:pt x="1147" y="366"/>
                  </a:lnTo>
                  <a:lnTo>
                    <a:pt x="1143" y="345"/>
                  </a:lnTo>
                  <a:lnTo>
                    <a:pt x="1139" y="324"/>
                  </a:lnTo>
                  <a:lnTo>
                    <a:pt x="1132" y="303"/>
                  </a:lnTo>
                  <a:lnTo>
                    <a:pt x="1126" y="284"/>
                  </a:lnTo>
                  <a:lnTo>
                    <a:pt x="1118" y="264"/>
                  </a:lnTo>
                  <a:lnTo>
                    <a:pt x="1109" y="245"/>
                  </a:lnTo>
                  <a:lnTo>
                    <a:pt x="1100" y="226"/>
                  </a:lnTo>
                  <a:lnTo>
                    <a:pt x="1090" y="208"/>
                  </a:lnTo>
                  <a:lnTo>
                    <a:pt x="1078" y="191"/>
                  </a:lnTo>
                  <a:lnTo>
                    <a:pt x="1066" y="174"/>
                  </a:lnTo>
                  <a:lnTo>
                    <a:pt x="1053" y="157"/>
                  </a:lnTo>
                  <a:lnTo>
                    <a:pt x="1040" y="141"/>
                  </a:lnTo>
                  <a:lnTo>
                    <a:pt x="1025" y="126"/>
                  </a:lnTo>
                  <a:lnTo>
                    <a:pt x="1010" y="112"/>
                  </a:lnTo>
                  <a:lnTo>
                    <a:pt x="995" y="99"/>
                  </a:lnTo>
                  <a:lnTo>
                    <a:pt x="979" y="86"/>
                  </a:lnTo>
                  <a:lnTo>
                    <a:pt x="961" y="74"/>
                  </a:lnTo>
                  <a:lnTo>
                    <a:pt x="944" y="62"/>
                  </a:lnTo>
                  <a:lnTo>
                    <a:pt x="926" y="53"/>
                  </a:lnTo>
                  <a:lnTo>
                    <a:pt x="907" y="43"/>
                  </a:lnTo>
                  <a:lnTo>
                    <a:pt x="888" y="34"/>
                  </a:lnTo>
                  <a:lnTo>
                    <a:pt x="869" y="27"/>
                  </a:lnTo>
                  <a:lnTo>
                    <a:pt x="848" y="19"/>
                  </a:lnTo>
                  <a:lnTo>
                    <a:pt x="827" y="14"/>
                  </a:lnTo>
                  <a:lnTo>
                    <a:pt x="807" y="8"/>
                  </a:lnTo>
                  <a:lnTo>
                    <a:pt x="785" y="5"/>
                  </a:lnTo>
                  <a:lnTo>
                    <a:pt x="764" y="2"/>
                  </a:lnTo>
                  <a:lnTo>
                    <a:pt x="742" y="1"/>
                  </a:lnTo>
                  <a:lnTo>
                    <a:pt x="7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28"/>
            <p:cNvSpPr>
              <a:spLocks/>
            </p:cNvSpPr>
            <p:nvPr/>
          </p:nvSpPr>
          <p:spPr bwMode="auto">
            <a:xfrm>
              <a:off x="3834606" y="2825353"/>
              <a:ext cx="106363" cy="107950"/>
            </a:xfrm>
            <a:custGeom>
              <a:avLst/>
              <a:gdLst>
                <a:gd name="T0" fmla="*/ 239 w 270"/>
                <a:gd name="T1" fmla="*/ 0 h 270"/>
                <a:gd name="T2" fmla="*/ 214 w 270"/>
                <a:gd name="T3" fmla="*/ 3 h 270"/>
                <a:gd name="T4" fmla="*/ 189 w 270"/>
                <a:gd name="T5" fmla="*/ 8 h 270"/>
                <a:gd name="T6" fmla="*/ 165 w 270"/>
                <a:gd name="T7" fmla="*/ 15 h 270"/>
                <a:gd name="T8" fmla="*/ 142 w 270"/>
                <a:gd name="T9" fmla="*/ 25 h 270"/>
                <a:gd name="T10" fmla="*/ 121 w 270"/>
                <a:gd name="T11" fmla="*/ 37 h 270"/>
                <a:gd name="T12" fmla="*/ 101 w 270"/>
                <a:gd name="T13" fmla="*/ 50 h 270"/>
                <a:gd name="T14" fmla="*/ 83 w 270"/>
                <a:gd name="T15" fmla="*/ 66 h 270"/>
                <a:gd name="T16" fmla="*/ 66 w 270"/>
                <a:gd name="T17" fmla="*/ 82 h 270"/>
                <a:gd name="T18" fmla="*/ 50 w 270"/>
                <a:gd name="T19" fmla="*/ 102 h 270"/>
                <a:gd name="T20" fmla="*/ 37 w 270"/>
                <a:gd name="T21" fmla="*/ 121 h 270"/>
                <a:gd name="T22" fmla="*/ 25 w 270"/>
                <a:gd name="T23" fmla="*/ 143 h 270"/>
                <a:gd name="T24" fmla="*/ 15 w 270"/>
                <a:gd name="T25" fmla="*/ 165 h 270"/>
                <a:gd name="T26" fmla="*/ 7 w 270"/>
                <a:gd name="T27" fmla="*/ 189 h 270"/>
                <a:gd name="T28" fmla="*/ 3 w 270"/>
                <a:gd name="T29" fmla="*/ 214 h 270"/>
                <a:gd name="T30" fmla="*/ 0 w 270"/>
                <a:gd name="T31" fmla="*/ 239 h 270"/>
                <a:gd name="T32" fmla="*/ 0 w 270"/>
                <a:gd name="T33" fmla="*/ 256 h 270"/>
                <a:gd name="T34" fmla="*/ 3 w 270"/>
                <a:gd name="T35" fmla="*/ 262 h 270"/>
                <a:gd name="T36" fmla="*/ 7 w 270"/>
                <a:gd name="T37" fmla="*/ 267 h 270"/>
                <a:gd name="T38" fmla="*/ 14 w 270"/>
                <a:gd name="T39" fmla="*/ 270 h 270"/>
                <a:gd name="T40" fmla="*/ 21 w 270"/>
                <a:gd name="T41" fmla="*/ 270 h 270"/>
                <a:gd name="T42" fmla="*/ 28 w 270"/>
                <a:gd name="T43" fmla="*/ 267 h 270"/>
                <a:gd name="T44" fmla="*/ 33 w 270"/>
                <a:gd name="T45" fmla="*/ 262 h 270"/>
                <a:gd name="T46" fmla="*/ 35 w 270"/>
                <a:gd name="T47" fmla="*/ 256 h 270"/>
                <a:gd name="T48" fmla="*/ 37 w 270"/>
                <a:gd name="T49" fmla="*/ 241 h 270"/>
                <a:gd name="T50" fmla="*/ 39 w 270"/>
                <a:gd name="T51" fmla="*/ 219 h 270"/>
                <a:gd name="T52" fmla="*/ 45 w 270"/>
                <a:gd name="T53" fmla="*/ 188 h 270"/>
                <a:gd name="T54" fmla="*/ 62 w 270"/>
                <a:gd name="T55" fmla="*/ 149 h 270"/>
                <a:gd name="T56" fmla="*/ 85 w 270"/>
                <a:gd name="T57" fmla="*/ 114 h 270"/>
                <a:gd name="T58" fmla="*/ 114 w 270"/>
                <a:gd name="T59" fmla="*/ 85 h 270"/>
                <a:gd name="T60" fmla="*/ 149 w 270"/>
                <a:gd name="T61" fmla="*/ 62 h 270"/>
                <a:gd name="T62" fmla="*/ 188 w 270"/>
                <a:gd name="T63" fmla="*/ 45 h 270"/>
                <a:gd name="T64" fmla="*/ 219 w 270"/>
                <a:gd name="T65" fmla="*/ 39 h 270"/>
                <a:gd name="T66" fmla="*/ 241 w 270"/>
                <a:gd name="T67" fmla="*/ 37 h 270"/>
                <a:gd name="T68" fmla="*/ 256 w 270"/>
                <a:gd name="T69" fmla="*/ 36 h 270"/>
                <a:gd name="T70" fmla="*/ 262 w 270"/>
                <a:gd name="T71" fmla="*/ 32 h 270"/>
                <a:gd name="T72" fmla="*/ 267 w 270"/>
                <a:gd name="T73" fmla="*/ 28 h 270"/>
                <a:gd name="T74" fmla="*/ 270 w 270"/>
                <a:gd name="T75" fmla="*/ 22 h 270"/>
                <a:gd name="T76" fmla="*/ 270 w 270"/>
                <a:gd name="T77" fmla="*/ 14 h 270"/>
                <a:gd name="T78" fmla="*/ 267 w 270"/>
                <a:gd name="T79" fmla="*/ 8 h 270"/>
                <a:gd name="T80" fmla="*/ 262 w 270"/>
                <a:gd name="T81" fmla="*/ 3 h 270"/>
                <a:gd name="T82" fmla="*/ 256 w 270"/>
                <a:gd name="T8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0" h="270">
                  <a:moveTo>
                    <a:pt x="251" y="0"/>
                  </a:moveTo>
                  <a:lnTo>
                    <a:pt x="239" y="0"/>
                  </a:lnTo>
                  <a:lnTo>
                    <a:pt x="227" y="1"/>
                  </a:lnTo>
                  <a:lnTo>
                    <a:pt x="214" y="3"/>
                  </a:lnTo>
                  <a:lnTo>
                    <a:pt x="201" y="5"/>
                  </a:lnTo>
                  <a:lnTo>
                    <a:pt x="189" y="8"/>
                  </a:lnTo>
                  <a:lnTo>
                    <a:pt x="177" y="11"/>
                  </a:lnTo>
                  <a:lnTo>
                    <a:pt x="165" y="15"/>
                  </a:lnTo>
                  <a:lnTo>
                    <a:pt x="154" y="19"/>
                  </a:lnTo>
                  <a:lnTo>
                    <a:pt x="142" y="25"/>
                  </a:lnTo>
                  <a:lnTo>
                    <a:pt x="132" y="30"/>
                  </a:lnTo>
                  <a:lnTo>
                    <a:pt x="121" y="37"/>
                  </a:lnTo>
                  <a:lnTo>
                    <a:pt x="111" y="43"/>
                  </a:lnTo>
                  <a:lnTo>
                    <a:pt x="101" y="50"/>
                  </a:lnTo>
                  <a:lnTo>
                    <a:pt x="92" y="57"/>
                  </a:lnTo>
                  <a:lnTo>
                    <a:pt x="83" y="66"/>
                  </a:lnTo>
                  <a:lnTo>
                    <a:pt x="73" y="73"/>
                  </a:lnTo>
                  <a:lnTo>
                    <a:pt x="66" y="82"/>
                  </a:lnTo>
                  <a:lnTo>
                    <a:pt x="57" y="92"/>
                  </a:lnTo>
                  <a:lnTo>
                    <a:pt x="50" y="102"/>
                  </a:lnTo>
                  <a:lnTo>
                    <a:pt x="43" y="111"/>
                  </a:lnTo>
                  <a:lnTo>
                    <a:pt x="37" y="121"/>
                  </a:lnTo>
                  <a:lnTo>
                    <a:pt x="30" y="132"/>
                  </a:lnTo>
                  <a:lnTo>
                    <a:pt x="25" y="143"/>
                  </a:lnTo>
                  <a:lnTo>
                    <a:pt x="19" y="153"/>
                  </a:lnTo>
                  <a:lnTo>
                    <a:pt x="15" y="165"/>
                  </a:lnTo>
                  <a:lnTo>
                    <a:pt x="12" y="177"/>
                  </a:lnTo>
                  <a:lnTo>
                    <a:pt x="7" y="189"/>
                  </a:lnTo>
                  <a:lnTo>
                    <a:pt x="5" y="201"/>
                  </a:lnTo>
                  <a:lnTo>
                    <a:pt x="3" y="214"/>
                  </a:lnTo>
                  <a:lnTo>
                    <a:pt x="1" y="226"/>
                  </a:lnTo>
                  <a:lnTo>
                    <a:pt x="0" y="239"/>
                  </a:lnTo>
                  <a:lnTo>
                    <a:pt x="0" y="252"/>
                  </a:lnTo>
                  <a:lnTo>
                    <a:pt x="0" y="256"/>
                  </a:lnTo>
                  <a:lnTo>
                    <a:pt x="1" y="259"/>
                  </a:lnTo>
                  <a:lnTo>
                    <a:pt x="3" y="262"/>
                  </a:lnTo>
                  <a:lnTo>
                    <a:pt x="5" y="265"/>
                  </a:lnTo>
                  <a:lnTo>
                    <a:pt x="7" y="267"/>
                  </a:lnTo>
                  <a:lnTo>
                    <a:pt x="11" y="269"/>
                  </a:lnTo>
                  <a:lnTo>
                    <a:pt x="14" y="270"/>
                  </a:lnTo>
                  <a:lnTo>
                    <a:pt x="18" y="270"/>
                  </a:lnTo>
                  <a:lnTo>
                    <a:pt x="21" y="270"/>
                  </a:lnTo>
                  <a:lnTo>
                    <a:pt x="25" y="269"/>
                  </a:lnTo>
                  <a:lnTo>
                    <a:pt x="28" y="267"/>
                  </a:lnTo>
                  <a:lnTo>
                    <a:pt x="31" y="265"/>
                  </a:lnTo>
                  <a:lnTo>
                    <a:pt x="33" y="262"/>
                  </a:lnTo>
                  <a:lnTo>
                    <a:pt x="34" y="259"/>
                  </a:lnTo>
                  <a:lnTo>
                    <a:pt x="35" y="256"/>
                  </a:lnTo>
                  <a:lnTo>
                    <a:pt x="35" y="252"/>
                  </a:lnTo>
                  <a:lnTo>
                    <a:pt x="37" y="241"/>
                  </a:lnTo>
                  <a:lnTo>
                    <a:pt x="37" y="230"/>
                  </a:lnTo>
                  <a:lnTo>
                    <a:pt x="39" y="219"/>
                  </a:lnTo>
                  <a:lnTo>
                    <a:pt x="41" y="208"/>
                  </a:lnTo>
                  <a:lnTo>
                    <a:pt x="45" y="188"/>
                  </a:lnTo>
                  <a:lnTo>
                    <a:pt x="53" y="167"/>
                  </a:lnTo>
                  <a:lnTo>
                    <a:pt x="62" y="149"/>
                  </a:lnTo>
                  <a:lnTo>
                    <a:pt x="73" y="131"/>
                  </a:lnTo>
                  <a:lnTo>
                    <a:pt x="85" y="114"/>
                  </a:lnTo>
                  <a:lnTo>
                    <a:pt x="99" y="99"/>
                  </a:lnTo>
                  <a:lnTo>
                    <a:pt x="114" y="85"/>
                  </a:lnTo>
                  <a:lnTo>
                    <a:pt x="132" y="72"/>
                  </a:lnTo>
                  <a:lnTo>
                    <a:pt x="149" y="62"/>
                  </a:lnTo>
                  <a:lnTo>
                    <a:pt x="168" y="53"/>
                  </a:lnTo>
                  <a:lnTo>
                    <a:pt x="188" y="45"/>
                  </a:lnTo>
                  <a:lnTo>
                    <a:pt x="208" y="40"/>
                  </a:lnTo>
                  <a:lnTo>
                    <a:pt x="219" y="39"/>
                  </a:lnTo>
                  <a:lnTo>
                    <a:pt x="230" y="37"/>
                  </a:lnTo>
                  <a:lnTo>
                    <a:pt x="241" y="37"/>
                  </a:lnTo>
                  <a:lnTo>
                    <a:pt x="251" y="36"/>
                  </a:lnTo>
                  <a:lnTo>
                    <a:pt x="256" y="36"/>
                  </a:lnTo>
                  <a:lnTo>
                    <a:pt x="259" y="35"/>
                  </a:lnTo>
                  <a:lnTo>
                    <a:pt x="262" y="32"/>
                  </a:lnTo>
                  <a:lnTo>
                    <a:pt x="264" y="30"/>
                  </a:lnTo>
                  <a:lnTo>
                    <a:pt x="267" y="28"/>
                  </a:lnTo>
                  <a:lnTo>
                    <a:pt x="269" y="25"/>
                  </a:lnTo>
                  <a:lnTo>
                    <a:pt x="270" y="22"/>
                  </a:lnTo>
                  <a:lnTo>
                    <a:pt x="270" y="18"/>
                  </a:lnTo>
                  <a:lnTo>
                    <a:pt x="270" y="14"/>
                  </a:lnTo>
                  <a:lnTo>
                    <a:pt x="269" y="11"/>
                  </a:lnTo>
                  <a:lnTo>
                    <a:pt x="267" y="8"/>
                  </a:lnTo>
                  <a:lnTo>
                    <a:pt x="264" y="5"/>
                  </a:lnTo>
                  <a:lnTo>
                    <a:pt x="262" y="3"/>
                  </a:lnTo>
                  <a:lnTo>
                    <a:pt x="259" y="1"/>
                  </a:lnTo>
                  <a:lnTo>
                    <a:pt x="256" y="0"/>
                  </a:lnTo>
                  <a:lnTo>
                    <a:pt x="2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 name="Group 611">
            <a:extLst>
              <a:ext uri="{FF2B5EF4-FFF2-40B4-BE49-F238E27FC236}">
                <a16:creationId xmlns:a16="http://schemas.microsoft.com/office/drawing/2014/main" id="{88856E53-DD1A-4356-9BD5-4BE5A0C1AE56}"/>
              </a:ext>
            </a:extLst>
          </p:cNvPr>
          <p:cNvGrpSpPr>
            <a:grpSpLocks noChangeAspect="1"/>
          </p:cNvGrpSpPr>
          <p:nvPr/>
        </p:nvGrpSpPr>
        <p:grpSpPr bwMode="auto">
          <a:xfrm>
            <a:off x="9318431" y="2657540"/>
            <a:ext cx="620456" cy="657315"/>
            <a:chOff x="1205" y="3905"/>
            <a:chExt cx="303" cy="321"/>
          </a:xfrm>
          <a:solidFill>
            <a:schemeClr val="bg1"/>
          </a:solidFill>
        </p:grpSpPr>
        <p:sp>
          <p:nvSpPr>
            <p:cNvPr id="61" name="Freeform 613">
              <a:extLst>
                <a:ext uri="{FF2B5EF4-FFF2-40B4-BE49-F238E27FC236}">
                  <a16:creationId xmlns:a16="http://schemas.microsoft.com/office/drawing/2014/main" id="{934B810D-2700-4BA4-9F80-F8DB7328AE13}"/>
                </a:ext>
              </a:extLst>
            </p:cNvPr>
            <p:cNvSpPr>
              <a:spLocks noEditPoints="1"/>
            </p:cNvSpPr>
            <p:nvPr/>
          </p:nvSpPr>
          <p:spPr bwMode="auto">
            <a:xfrm>
              <a:off x="1234" y="3975"/>
              <a:ext cx="244" cy="251"/>
            </a:xfrm>
            <a:custGeom>
              <a:avLst/>
              <a:gdLst>
                <a:gd name="T0" fmla="*/ 428 w 2440"/>
                <a:gd name="T1" fmla="*/ 1526 h 2760"/>
                <a:gd name="T2" fmla="*/ 428 w 2440"/>
                <a:gd name="T3" fmla="*/ 2101 h 2760"/>
                <a:gd name="T4" fmla="*/ 992 w 2440"/>
                <a:gd name="T5" fmla="*/ 2101 h 2760"/>
                <a:gd name="T6" fmla="*/ 992 w 2440"/>
                <a:gd name="T7" fmla="*/ 1526 h 2760"/>
                <a:gd name="T8" fmla="*/ 428 w 2440"/>
                <a:gd name="T9" fmla="*/ 1526 h 2760"/>
                <a:gd name="T10" fmla="*/ 1221 w 2440"/>
                <a:gd name="T11" fmla="*/ 0 h 2760"/>
                <a:gd name="T12" fmla="*/ 2440 w 2440"/>
                <a:gd name="T13" fmla="*/ 1336 h 2760"/>
                <a:gd name="T14" fmla="*/ 2440 w 2440"/>
                <a:gd name="T15" fmla="*/ 2697 h 2760"/>
                <a:gd name="T16" fmla="*/ 2437 w 2440"/>
                <a:gd name="T17" fmla="*/ 2717 h 2760"/>
                <a:gd name="T18" fmla="*/ 2429 w 2440"/>
                <a:gd name="T19" fmla="*/ 2734 h 2760"/>
                <a:gd name="T20" fmla="*/ 2417 w 2440"/>
                <a:gd name="T21" fmla="*/ 2748 h 2760"/>
                <a:gd name="T22" fmla="*/ 2401 w 2440"/>
                <a:gd name="T23" fmla="*/ 2757 h 2760"/>
                <a:gd name="T24" fmla="*/ 2383 w 2440"/>
                <a:gd name="T25" fmla="*/ 2760 h 2760"/>
                <a:gd name="T26" fmla="*/ 2012 w 2440"/>
                <a:gd name="T27" fmla="*/ 2760 h 2760"/>
                <a:gd name="T28" fmla="*/ 2012 w 2440"/>
                <a:gd name="T29" fmla="*/ 1526 h 2760"/>
                <a:gd name="T30" fmla="*/ 1387 w 2440"/>
                <a:gd name="T31" fmla="*/ 1526 h 2760"/>
                <a:gd name="T32" fmla="*/ 1387 w 2440"/>
                <a:gd name="T33" fmla="*/ 2760 h 2760"/>
                <a:gd name="T34" fmla="*/ 56 w 2440"/>
                <a:gd name="T35" fmla="*/ 2760 h 2760"/>
                <a:gd name="T36" fmla="*/ 38 w 2440"/>
                <a:gd name="T37" fmla="*/ 2757 h 2760"/>
                <a:gd name="T38" fmla="*/ 23 w 2440"/>
                <a:gd name="T39" fmla="*/ 2748 h 2760"/>
                <a:gd name="T40" fmla="*/ 11 w 2440"/>
                <a:gd name="T41" fmla="*/ 2734 h 2760"/>
                <a:gd name="T42" fmla="*/ 3 w 2440"/>
                <a:gd name="T43" fmla="*/ 2717 h 2760"/>
                <a:gd name="T44" fmla="*/ 0 w 2440"/>
                <a:gd name="T45" fmla="*/ 2697 h 2760"/>
                <a:gd name="T46" fmla="*/ 0 w 2440"/>
                <a:gd name="T47" fmla="*/ 1336 h 2760"/>
                <a:gd name="T48" fmla="*/ 1221 w 2440"/>
                <a:gd name="T49" fmla="*/ 0 h 2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0" h="2760">
                  <a:moveTo>
                    <a:pt x="428" y="1526"/>
                  </a:moveTo>
                  <a:lnTo>
                    <a:pt x="428" y="2101"/>
                  </a:lnTo>
                  <a:lnTo>
                    <a:pt x="992" y="2101"/>
                  </a:lnTo>
                  <a:lnTo>
                    <a:pt x="992" y="1526"/>
                  </a:lnTo>
                  <a:lnTo>
                    <a:pt x="428" y="1526"/>
                  </a:lnTo>
                  <a:close/>
                  <a:moveTo>
                    <a:pt x="1221" y="0"/>
                  </a:moveTo>
                  <a:lnTo>
                    <a:pt x="2440" y="1336"/>
                  </a:lnTo>
                  <a:lnTo>
                    <a:pt x="2440" y="2697"/>
                  </a:lnTo>
                  <a:lnTo>
                    <a:pt x="2437" y="2717"/>
                  </a:lnTo>
                  <a:lnTo>
                    <a:pt x="2429" y="2734"/>
                  </a:lnTo>
                  <a:lnTo>
                    <a:pt x="2417" y="2748"/>
                  </a:lnTo>
                  <a:lnTo>
                    <a:pt x="2401" y="2757"/>
                  </a:lnTo>
                  <a:lnTo>
                    <a:pt x="2383" y="2760"/>
                  </a:lnTo>
                  <a:lnTo>
                    <a:pt x="2012" y="2760"/>
                  </a:lnTo>
                  <a:lnTo>
                    <a:pt x="2012" y="1526"/>
                  </a:lnTo>
                  <a:lnTo>
                    <a:pt x="1387" y="1526"/>
                  </a:lnTo>
                  <a:lnTo>
                    <a:pt x="1387" y="2760"/>
                  </a:lnTo>
                  <a:lnTo>
                    <a:pt x="56" y="2760"/>
                  </a:lnTo>
                  <a:lnTo>
                    <a:pt x="38" y="2757"/>
                  </a:lnTo>
                  <a:lnTo>
                    <a:pt x="23" y="2748"/>
                  </a:lnTo>
                  <a:lnTo>
                    <a:pt x="11" y="2734"/>
                  </a:lnTo>
                  <a:lnTo>
                    <a:pt x="3" y="2717"/>
                  </a:lnTo>
                  <a:lnTo>
                    <a:pt x="0" y="2697"/>
                  </a:lnTo>
                  <a:lnTo>
                    <a:pt x="0" y="1336"/>
                  </a:lnTo>
                  <a:lnTo>
                    <a:pt x="1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14">
              <a:extLst>
                <a:ext uri="{FF2B5EF4-FFF2-40B4-BE49-F238E27FC236}">
                  <a16:creationId xmlns:a16="http://schemas.microsoft.com/office/drawing/2014/main" id="{A5D473FE-F78D-49C4-88FD-FCB55A17BAFD}"/>
                </a:ext>
              </a:extLst>
            </p:cNvPr>
            <p:cNvSpPr>
              <a:spLocks/>
            </p:cNvSpPr>
            <p:nvPr/>
          </p:nvSpPr>
          <p:spPr bwMode="auto">
            <a:xfrm>
              <a:off x="1205" y="3905"/>
              <a:ext cx="303" cy="174"/>
            </a:xfrm>
            <a:custGeom>
              <a:avLst/>
              <a:gdLst>
                <a:gd name="T0" fmla="*/ 1514 w 3027"/>
                <a:gd name="T1" fmla="*/ 0 h 1915"/>
                <a:gd name="T2" fmla="*/ 2981 w 3027"/>
                <a:gd name="T3" fmla="*/ 1613 h 1915"/>
                <a:gd name="T4" fmla="*/ 2999 w 3027"/>
                <a:gd name="T5" fmla="*/ 1637 h 1915"/>
                <a:gd name="T6" fmla="*/ 3013 w 3027"/>
                <a:gd name="T7" fmla="*/ 1665 h 1915"/>
                <a:gd name="T8" fmla="*/ 3023 w 3027"/>
                <a:gd name="T9" fmla="*/ 1693 h 1915"/>
                <a:gd name="T10" fmla="*/ 3027 w 3027"/>
                <a:gd name="T11" fmla="*/ 1723 h 1915"/>
                <a:gd name="T12" fmla="*/ 3027 w 3027"/>
                <a:gd name="T13" fmla="*/ 1754 h 1915"/>
                <a:gd name="T14" fmla="*/ 3023 w 3027"/>
                <a:gd name="T15" fmla="*/ 1783 h 1915"/>
                <a:gd name="T16" fmla="*/ 3013 w 3027"/>
                <a:gd name="T17" fmla="*/ 1812 h 1915"/>
                <a:gd name="T18" fmla="*/ 2999 w 3027"/>
                <a:gd name="T19" fmla="*/ 1838 h 1915"/>
                <a:gd name="T20" fmla="*/ 2981 w 3027"/>
                <a:gd name="T21" fmla="*/ 1864 h 1915"/>
                <a:gd name="T22" fmla="*/ 2958 w 3027"/>
                <a:gd name="T23" fmla="*/ 1884 h 1915"/>
                <a:gd name="T24" fmla="*/ 2934 w 3027"/>
                <a:gd name="T25" fmla="*/ 1899 h 1915"/>
                <a:gd name="T26" fmla="*/ 2908 w 3027"/>
                <a:gd name="T27" fmla="*/ 1910 h 1915"/>
                <a:gd name="T28" fmla="*/ 2881 w 3027"/>
                <a:gd name="T29" fmla="*/ 1914 h 1915"/>
                <a:gd name="T30" fmla="*/ 2853 w 3027"/>
                <a:gd name="T31" fmla="*/ 1914 h 1915"/>
                <a:gd name="T32" fmla="*/ 2826 w 3027"/>
                <a:gd name="T33" fmla="*/ 1910 h 1915"/>
                <a:gd name="T34" fmla="*/ 2800 w 3027"/>
                <a:gd name="T35" fmla="*/ 1899 h 1915"/>
                <a:gd name="T36" fmla="*/ 2775 w 3027"/>
                <a:gd name="T37" fmla="*/ 1884 h 1915"/>
                <a:gd name="T38" fmla="*/ 2753 w 3027"/>
                <a:gd name="T39" fmla="*/ 1864 h 1915"/>
                <a:gd name="T40" fmla="*/ 1514 w 3027"/>
                <a:gd name="T41" fmla="*/ 502 h 1915"/>
                <a:gd name="T42" fmla="*/ 275 w 3027"/>
                <a:gd name="T43" fmla="*/ 1864 h 1915"/>
                <a:gd name="T44" fmla="*/ 255 w 3027"/>
                <a:gd name="T45" fmla="*/ 1882 h 1915"/>
                <a:gd name="T46" fmla="*/ 233 w 3027"/>
                <a:gd name="T47" fmla="*/ 1897 h 1915"/>
                <a:gd name="T48" fmla="*/ 210 w 3027"/>
                <a:gd name="T49" fmla="*/ 1907 h 1915"/>
                <a:gd name="T50" fmla="*/ 185 w 3027"/>
                <a:gd name="T51" fmla="*/ 1913 h 1915"/>
                <a:gd name="T52" fmla="*/ 161 w 3027"/>
                <a:gd name="T53" fmla="*/ 1915 h 1915"/>
                <a:gd name="T54" fmla="*/ 136 w 3027"/>
                <a:gd name="T55" fmla="*/ 1913 h 1915"/>
                <a:gd name="T56" fmla="*/ 112 w 3027"/>
                <a:gd name="T57" fmla="*/ 1907 h 1915"/>
                <a:gd name="T58" fmla="*/ 89 w 3027"/>
                <a:gd name="T59" fmla="*/ 1897 h 1915"/>
                <a:gd name="T60" fmla="*/ 67 w 3027"/>
                <a:gd name="T61" fmla="*/ 1882 h 1915"/>
                <a:gd name="T62" fmla="*/ 47 w 3027"/>
                <a:gd name="T63" fmla="*/ 1864 h 1915"/>
                <a:gd name="T64" fmla="*/ 28 w 3027"/>
                <a:gd name="T65" fmla="*/ 1838 h 1915"/>
                <a:gd name="T66" fmla="*/ 14 w 3027"/>
                <a:gd name="T67" fmla="*/ 1812 h 1915"/>
                <a:gd name="T68" fmla="*/ 5 w 3027"/>
                <a:gd name="T69" fmla="*/ 1783 h 1915"/>
                <a:gd name="T70" fmla="*/ 0 w 3027"/>
                <a:gd name="T71" fmla="*/ 1754 h 1915"/>
                <a:gd name="T72" fmla="*/ 0 w 3027"/>
                <a:gd name="T73" fmla="*/ 1723 h 1915"/>
                <a:gd name="T74" fmla="*/ 5 w 3027"/>
                <a:gd name="T75" fmla="*/ 1693 h 1915"/>
                <a:gd name="T76" fmla="*/ 14 w 3027"/>
                <a:gd name="T77" fmla="*/ 1665 h 1915"/>
                <a:gd name="T78" fmla="*/ 28 w 3027"/>
                <a:gd name="T79" fmla="*/ 1637 h 1915"/>
                <a:gd name="T80" fmla="*/ 47 w 3027"/>
                <a:gd name="T81" fmla="*/ 1613 h 1915"/>
                <a:gd name="T82" fmla="*/ 564 w 3027"/>
                <a:gd name="T83" fmla="*/ 1044 h 1915"/>
                <a:gd name="T84" fmla="*/ 564 w 3027"/>
                <a:gd name="T85" fmla="*/ 426 h 1915"/>
                <a:gd name="T86" fmla="*/ 566 w 3027"/>
                <a:gd name="T87" fmla="*/ 397 h 1915"/>
                <a:gd name="T88" fmla="*/ 574 w 3027"/>
                <a:gd name="T89" fmla="*/ 371 h 1915"/>
                <a:gd name="T90" fmla="*/ 586 w 3027"/>
                <a:gd name="T91" fmla="*/ 347 h 1915"/>
                <a:gd name="T92" fmla="*/ 601 w 3027"/>
                <a:gd name="T93" fmla="*/ 326 h 1915"/>
                <a:gd name="T94" fmla="*/ 621 w 3027"/>
                <a:gd name="T95" fmla="*/ 309 h 1915"/>
                <a:gd name="T96" fmla="*/ 642 w 3027"/>
                <a:gd name="T97" fmla="*/ 296 h 1915"/>
                <a:gd name="T98" fmla="*/ 667 w 3027"/>
                <a:gd name="T99" fmla="*/ 287 h 1915"/>
                <a:gd name="T100" fmla="*/ 693 w 3027"/>
                <a:gd name="T101" fmla="*/ 285 h 1915"/>
                <a:gd name="T102" fmla="*/ 719 w 3027"/>
                <a:gd name="T103" fmla="*/ 287 h 1915"/>
                <a:gd name="T104" fmla="*/ 743 w 3027"/>
                <a:gd name="T105" fmla="*/ 296 h 1915"/>
                <a:gd name="T106" fmla="*/ 766 w 3027"/>
                <a:gd name="T107" fmla="*/ 309 h 1915"/>
                <a:gd name="T108" fmla="*/ 785 w 3027"/>
                <a:gd name="T109" fmla="*/ 326 h 1915"/>
                <a:gd name="T110" fmla="*/ 800 w 3027"/>
                <a:gd name="T111" fmla="*/ 347 h 1915"/>
                <a:gd name="T112" fmla="*/ 812 w 3027"/>
                <a:gd name="T113" fmla="*/ 371 h 1915"/>
                <a:gd name="T114" fmla="*/ 820 w 3027"/>
                <a:gd name="T115" fmla="*/ 397 h 1915"/>
                <a:gd name="T116" fmla="*/ 822 w 3027"/>
                <a:gd name="T117" fmla="*/ 426 h 1915"/>
                <a:gd name="T118" fmla="*/ 822 w 3027"/>
                <a:gd name="T119" fmla="*/ 762 h 1915"/>
                <a:gd name="T120" fmla="*/ 1514 w 3027"/>
                <a:gd name="T121" fmla="*/ 0 h 1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27" h="1915">
                  <a:moveTo>
                    <a:pt x="1514" y="0"/>
                  </a:moveTo>
                  <a:lnTo>
                    <a:pt x="2981" y="1613"/>
                  </a:lnTo>
                  <a:lnTo>
                    <a:pt x="2999" y="1637"/>
                  </a:lnTo>
                  <a:lnTo>
                    <a:pt x="3013" y="1665"/>
                  </a:lnTo>
                  <a:lnTo>
                    <a:pt x="3023" y="1693"/>
                  </a:lnTo>
                  <a:lnTo>
                    <a:pt x="3027" y="1723"/>
                  </a:lnTo>
                  <a:lnTo>
                    <a:pt x="3027" y="1754"/>
                  </a:lnTo>
                  <a:lnTo>
                    <a:pt x="3023" y="1783"/>
                  </a:lnTo>
                  <a:lnTo>
                    <a:pt x="3013" y="1812"/>
                  </a:lnTo>
                  <a:lnTo>
                    <a:pt x="2999" y="1838"/>
                  </a:lnTo>
                  <a:lnTo>
                    <a:pt x="2981" y="1864"/>
                  </a:lnTo>
                  <a:lnTo>
                    <a:pt x="2958" y="1884"/>
                  </a:lnTo>
                  <a:lnTo>
                    <a:pt x="2934" y="1899"/>
                  </a:lnTo>
                  <a:lnTo>
                    <a:pt x="2908" y="1910"/>
                  </a:lnTo>
                  <a:lnTo>
                    <a:pt x="2881" y="1914"/>
                  </a:lnTo>
                  <a:lnTo>
                    <a:pt x="2853" y="1914"/>
                  </a:lnTo>
                  <a:lnTo>
                    <a:pt x="2826" y="1910"/>
                  </a:lnTo>
                  <a:lnTo>
                    <a:pt x="2800" y="1899"/>
                  </a:lnTo>
                  <a:lnTo>
                    <a:pt x="2775" y="1884"/>
                  </a:lnTo>
                  <a:lnTo>
                    <a:pt x="2753" y="1864"/>
                  </a:lnTo>
                  <a:lnTo>
                    <a:pt x="1514" y="502"/>
                  </a:lnTo>
                  <a:lnTo>
                    <a:pt x="275" y="1864"/>
                  </a:lnTo>
                  <a:lnTo>
                    <a:pt x="255" y="1882"/>
                  </a:lnTo>
                  <a:lnTo>
                    <a:pt x="233" y="1897"/>
                  </a:lnTo>
                  <a:lnTo>
                    <a:pt x="210" y="1907"/>
                  </a:lnTo>
                  <a:lnTo>
                    <a:pt x="185" y="1913"/>
                  </a:lnTo>
                  <a:lnTo>
                    <a:pt x="161" y="1915"/>
                  </a:lnTo>
                  <a:lnTo>
                    <a:pt x="136" y="1913"/>
                  </a:lnTo>
                  <a:lnTo>
                    <a:pt x="112" y="1907"/>
                  </a:lnTo>
                  <a:lnTo>
                    <a:pt x="89" y="1897"/>
                  </a:lnTo>
                  <a:lnTo>
                    <a:pt x="67" y="1882"/>
                  </a:lnTo>
                  <a:lnTo>
                    <a:pt x="47" y="1864"/>
                  </a:lnTo>
                  <a:lnTo>
                    <a:pt x="28" y="1838"/>
                  </a:lnTo>
                  <a:lnTo>
                    <a:pt x="14" y="1812"/>
                  </a:lnTo>
                  <a:lnTo>
                    <a:pt x="5" y="1783"/>
                  </a:lnTo>
                  <a:lnTo>
                    <a:pt x="0" y="1754"/>
                  </a:lnTo>
                  <a:lnTo>
                    <a:pt x="0" y="1723"/>
                  </a:lnTo>
                  <a:lnTo>
                    <a:pt x="5" y="1693"/>
                  </a:lnTo>
                  <a:lnTo>
                    <a:pt x="14" y="1665"/>
                  </a:lnTo>
                  <a:lnTo>
                    <a:pt x="28" y="1637"/>
                  </a:lnTo>
                  <a:lnTo>
                    <a:pt x="47" y="1613"/>
                  </a:lnTo>
                  <a:lnTo>
                    <a:pt x="564" y="1044"/>
                  </a:lnTo>
                  <a:lnTo>
                    <a:pt x="564" y="426"/>
                  </a:lnTo>
                  <a:lnTo>
                    <a:pt x="566" y="397"/>
                  </a:lnTo>
                  <a:lnTo>
                    <a:pt x="574" y="371"/>
                  </a:lnTo>
                  <a:lnTo>
                    <a:pt x="586" y="347"/>
                  </a:lnTo>
                  <a:lnTo>
                    <a:pt x="601" y="326"/>
                  </a:lnTo>
                  <a:lnTo>
                    <a:pt x="621" y="309"/>
                  </a:lnTo>
                  <a:lnTo>
                    <a:pt x="642" y="296"/>
                  </a:lnTo>
                  <a:lnTo>
                    <a:pt x="667" y="287"/>
                  </a:lnTo>
                  <a:lnTo>
                    <a:pt x="693" y="285"/>
                  </a:lnTo>
                  <a:lnTo>
                    <a:pt x="719" y="287"/>
                  </a:lnTo>
                  <a:lnTo>
                    <a:pt x="743" y="296"/>
                  </a:lnTo>
                  <a:lnTo>
                    <a:pt x="766" y="309"/>
                  </a:lnTo>
                  <a:lnTo>
                    <a:pt x="785" y="326"/>
                  </a:lnTo>
                  <a:lnTo>
                    <a:pt x="800" y="347"/>
                  </a:lnTo>
                  <a:lnTo>
                    <a:pt x="812" y="371"/>
                  </a:lnTo>
                  <a:lnTo>
                    <a:pt x="820" y="397"/>
                  </a:lnTo>
                  <a:lnTo>
                    <a:pt x="822" y="426"/>
                  </a:lnTo>
                  <a:lnTo>
                    <a:pt x="822" y="762"/>
                  </a:lnTo>
                  <a:lnTo>
                    <a:pt x="15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7627432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B949E165-D447-402D-B332-9806C36630AA}"/>
              </a:ext>
            </a:extLst>
          </p:cNvPr>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l="3281" r="3281"/>
          <a:stretch>
            <a:fillRect/>
          </a:stretch>
        </p:blipFill>
        <p:spPr/>
      </p:pic>
      <p:sp>
        <p:nvSpPr>
          <p:cNvPr id="2" name="Slide Number Placeholder 1"/>
          <p:cNvSpPr>
            <a:spLocks noGrp="1"/>
          </p:cNvSpPr>
          <p:nvPr>
            <p:ph type="sldNum" sz="quarter" idx="12"/>
          </p:nvPr>
        </p:nvSpPr>
        <p:spPr/>
        <p:txBody>
          <a:bodyPr/>
          <a:lstStyle/>
          <a:p>
            <a:fld id="{32ECD629-4DA5-4EAE-B174-69948CAAE2CE}" type="slidenum">
              <a:rPr lang="en-US" smtClean="0"/>
              <a:pPr/>
              <a:t>11</a:t>
            </a:fld>
            <a:endParaRPr lang="en-US" dirty="0"/>
          </a:p>
        </p:txBody>
      </p:sp>
      <p:sp>
        <p:nvSpPr>
          <p:cNvPr id="13" name="Title 11"/>
          <p:cNvSpPr txBox="1">
            <a:spLocks/>
          </p:cNvSpPr>
          <p:nvPr/>
        </p:nvSpPr>
        <p:spPr>
          <a:xfrm>
            <a:off x="1047396" y="3736268"/>
            <a:ext cx="4021561" cy="2179997"/>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b="1" spc="-300" dirty="0">
                <a:solidFill>
                  <a:schemeClr val="tx1">
                    <a:lumMod val="75000"/>
                    <a:lumOff val="25000"/>
                  </a:schemeClr>
                </a:solidFill>
                <a:latin typeface="Arial" panose="020B0604020202020204" pitchFamily="34" charset="0"/>
                <a:ea typeface="Roboto Light" panose="02000000000000000000" pitchFamily="2" charset="0"/>
                <a:cs typeface="Open Sans Light" panose="020B0306030504020204" pitchFamily="34" charset="0"/>
              </a:rPr>
              <a:t>THANK</a:t>
            </a:r>
          </a:p>
          <a:p>
            <a:pPr algn="l"/>
            <a:r>
              <a:rPr lang="en-US" b="1" spc="-300" dirty="0">
                <a:solidFill>
                  <a:schemeClr val="tx1">
                    <a:lumMod val="75000"/>
                    <a:lumOff val="25000"/>
                  </a:schemeClr>
                </a:solidFill>
                <a:latin typeface="Arial" panose="020B0604020202020204" pitchFamily="34" charset="0"/>
                <a:ea typeface="Roboto Light" panose="02000000000000000000" pitchFamily="2" charset="0"/>
                <a:cs typeface="Open Sans Light" panose="020B0306030504020204" pitchFamily="34" charset="0"/>
              </a:rPr>
              <a:t>YOU</a:t>
            </a:r>
            <a:endParaRPr lang="en-US" b="1" spc="-300" dirty="0">
              <a:solidFill>
                <a:schemeClr val="accent1"/>
              </a:solidFill>
              <a:latin typeface="Arial" panose="020B0604020202020204" pitchFamily="34" charset="0"/>
              <a:ea typeface="Roboto Light" panose="02000000000000000000" pitchFamily="2" charset="0"/>
              <a:cs typeface="Open Sans Light" panose="020B0306030504020204" pitchFamily="34" charset="0"/>
            </a:endParaRPr>
          </a:p>
        </p:txBody>
      </p:sp>
      <p:sp>
        <p:nvSpPr>
          <p:cNvPr id="9" name="Freeform 8"/>
          <p:cNvSpPr/>
          <p:nvPr/>
        </p:nvSpPr>
        <p:spPr>
          <a:xfrm rot="16200000" flipH="1">
            <a:off x="3841635" y="-1403234"/>
            <a:ext cx="1472683" cy="4279154"/>
          </a:xfrm>
          <a:custGeom>
            <a:avLst/>
            <a:gdLst>
              <a:gd name="connsiteX0" fmla="*/ 0 w 930096"/>
              <a:gd name="connsiteY0" fmla="*/ 0 h 2407024"/>
              <a:gd name="connsiteX1" fmla="*/ 0 w 930096"/>
              <a:gd name="connsiteY1" fmla="*/ 2407024 h 2407024"/>
              <a:gd name="connsiteX2" fmla="*/ 930096 w 930096"/>
              <a:gd name="connsiteY2" fmla="*/ 1160488 h 2407024"/>
            </a:gdLst>
            <a:ahLst/>
            <a:cxnLst>
              <a:cxn ang="0">
                <a:pos x="connsiteX0" y="connsiteY0"/>
              </a:cxn>
              <a:cxn ang="0">
                <a:pos x="connsiteX1" y="connsiteY1"/>
              </a:cxn>
              <a:cxn ang="0">
                <a:pos x="connsiteX2" y="connsiteY2"/>
              </a:cxn>
            </a:cxnLst>
            <a:rect l="l" t="t" r="r" b="b"/>
            <a:pathLst>
              <a:path w="930096" h="2407024">
                <a:moveTo>
                  <a:pt x="0" y="0"/>
                </a:moveTo>
                <a:lnTo>
                  <a:pt x="0" y="2407024"/>
                </a:lnTo>
                <a:lnTo>
                  <a:pt x="930096" y="1160488"/>
                </a:lnTo>
                <a:close/>
              </a:path>
            </a:pathLst>
          </a:custGeom>
          <a:solidFill>
            <a:schemeClr val="tx1">
              <a:lumMod val="90000"/>
              <a:lumOff val="10000"/>
              <a:alpha val="2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6" name="Picture Placeholder 5">
            <a:extLst>
              <a:ext uri="{FF2B5EF4-FFF2-40B4-BE49-F238E27FC236}">
                <a16:creationId xmlns:a16="http://schemas.microsoft.com/office/drawing/2014/main" id="{E3021076-4CB9-45BB-91C5-5A771F565E87}"/>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t="6843" r="17414" b="24257"/>
          <a:stretch/>
        </p:blipFill>
        <p:spPr>
          <a:xfrm>
            <a:off x="0" y="1"/>
            <a:ext cx="6717552" cy="3736267"/>
          </a:xfrm>
        </p:spPr>
      </p:pic>
    </p:spTree>
    <p:extLst>
      <p:ext uri="{BB962C8B-B14F-4D97-AF65-F5344CB8AC3E}">
        <p14:creationId xmlns:p14="http://schemas.microsoft.com/office/powerpoint/2010/main" val="913141428"/>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77B4545E-B815-4C35-96EF-9AFA2E1639D7}"/>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5088" b="15088"/>
          <a:stretch>
            <a:fillRect/>
          </a:stretch>
        </p:blipFill>
        <p:spPr>
          <a:xfrm>
            <a:off x="0" y="2"/>
            <a:ext cx="12192000" cy="6371133"/>
          </a:xfrm>
          <a:solidFill>
            <a:schemeClr val="bg1">
              <a:lumMod val="85000"/>
            </a:schemeClr>
          </a:solidFill>
        </p:spPr>
      </p:pic>
      <p:sp>
        <p:nvSpPr>
          <p:cNvPr id="11" name="Rectangle 10">
            <a:extLst>
              <a:ext uri="{FF2B5EF4-FFF2-40B4-BE49-F238E27FC236}">
                <a16:creationId xmlns:a16="http://schemas.microsoft.com/office/drawing/2014/main" id="{EEA18BA1-341F-4C70-9D16-8212FFCE7867}"/>
              </a:ext>
            </a:extLst>
          </p:cNvPr>
          <p:cNvSpPr/>
          <p:nvPr/>
        </p:nvSpPr>
        <p:spPr>
          <a:xfrm>
            <a:off x="1" y="0"/>
            <a:ext cx="12191998" cy="635635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342628" y="2641053"/>
            <a:ext cx="5247491" cy="1708160"/>
          </a:xfrm>
          <a:prstGeom prst="rect">
            <a:avLst/>
          </a:prstGeom>
        </p:spPr>
        <p:txBody>
          <a:bodyPr wrap="square">
            <a:spAutoFit/>
          </a:bodyPr>
          <a:lstStyle/>
          <a:p>
            <a:pPr>
              <a:lnSpc>
                <a:spcPct val="150000"/>
              </a:lnSpc>
              <a:buClr>
                <a:srgbClr val="E24848"/>
              </a:buClr>
              <a:defRPr/>
            </a:pPr>
            <a:r>
              <a:rPr lang="en-US" sz="14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
        <p:nvSpPr>
          <p:cNvPr id="2" name="Slide Number Placeholder 1"/>
          <p:cNvSpPr>
            <a:spLocks noGrp="1"/>
          </p:cNvSpPr>
          <p:nvPr>
            <p:ph type="sldNum" sz="quarter" idx="12"/>
          </p:nvPr>
        </p:nvSpPr>
        <p:spPr/>
        <p:txBody>
          <a:bodyPr/>
          <a:lstStyle/>
          <a:p>
            <a:fld id="{32ECD629-4DA5-4EAE-B174-69948CAAE2CE}" type="slidenum">
              <a:rPr lang="en-US" smtClean="0"/>
              <a:pPr/>
              <a:t>2</a:t>
            </a:fld>
            <a:endParaRPr lang="en-US" dirty="0"/>
          </a:p>
        </p:txBody>
      </p:sp>
      <p:sp>
        <p:nvSpPr>
          <p:cNvPr id="8" name="Rectangle 7"/>
          <p:cNvSpPr/>
          <p:nvPr/>
        </p:nvSpPr>
        <p:spPr>
          <a:xfrm>
            <a:off x="4320051" y="1957725"/>
            <a:ext cx="3722296" cy="821627"/>
          </a:xfrm>
          <a:prstGeom prst="rect">
            <a:avLst/>
          </a:prstGeom>
        </p:spPr>
        <p:txBody>
          <a:bodyPr vert="horz" wrap="square" lIns="91440" tIns="45720" rIns="91440" bIns="45720" rtlCol="0" anchor="ctr">
            <a:noAutofit/>
          </a:bodyPr>
          <a:lstStyle/>
          <a:p>
            <a:pPr>
              <a:lnSpc>
                <a:spcPct val="90000"/>
              </a:lnSpc>
              <a:spcBef>
                <a:spcPct val="0"/>
              </a:spcBef>
            </a:pPr>
            <a:r>
              <a:rPr lang="en-US" sz="4000" b="1" u="sng" spc="-300" noProof="1">
                <a:solidFill>
                  <a:schemeClr val="bg1"/>
                </a:solidFill>
                <a:latin typeface="Arial" panose="020B0604020202020204" pitchFamily="34" charset="0"/>
                <a:ea typeface="Roboto Light" panose="02000000000000000000" pitchFamily="2" charset="0"/>
                <a:cs typeface="Open Sans Light" panose="020B0306030504020204" pitchFamily="34" charset="0"/>
              </a:rPr>
              <a:t>Imagine</a:t>
            </a:r>
            <a:r>
              <a:rPr lang="en-US" sz="4000" b="1" spc="-300" noProof="1">
                <a:solidFill>
                  <a:schemeClr val="bg1"/>
                </a:solidFill>
                <a:latin typeface="Arial" panose="020B0604020202020204" pitchFamily="34" charset="0"/>
                <a:ea typeface="Roboto Light" panose="02000000000000000000" pitchFamily="2" charset="0"/>
                <a:cs typeface="Open Sans Light" panose="020B0306030504020204" pitchFamily="34" charset="0"/>
              </a:rPr>
              <a:t> Vision</a:t>
            </a:r>
          </a:p>
        </p:txBody>
      </p:sp>
      <p:grpSp>
        <p:nvGrpSpPr>
          <p:cNvPr id="4" name="Group 3"/>
          <p:cNvGrpSpPr/>
          <p:nvPr/>
        </p:nvGrpSpPr>
        <p:grpSpPr>
          <a:xfrm>
            <a:off x="2571423" y="1957725"/>
            <a:ext cx="1430579" cy="1430579"/>
            <a:chOff x="2571422" y="1138533"/>
            <a:chExt cx="1430579" cy="1430579"/>
          </a:xfrm>
        </p:grpSpPr>
        <p:sp>
          <p:nvSpPr>
            <p:cNvPr id="12" name="Oval 11"/>
            <p:cNvSpPr/>
            <p:nvPr/>
          </p:nvSpPr>
          <p:spPr>
            <a:xfrm>
              <a:off x="2571422" y="1138533"/>
              <a:ext cx="1430579" cy="1430579"/>
            </a:xfrm>
            <a:prstGeom prst="ellipse">
              <a:avLst/>
            </a:prstGeom>
            <a:solidFill>
              <a:schemeClr val="tx1">
                <a:lumMod val="90000"/>
                <a:lumOff val="10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Oval 2"/>
            <p:cNvSpPr/>
            <p:nvPr/>
          </p:nvSpPr>
          <p:spPr>
            <a:xfrm>
              <a:off x="2703904" y="1262674"/>
              <a:ext cx="1182296" cy="11822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grpSp>
        <p:nvGrpSpPr>
          <p:cNvPr id="23" name="Group 22"/>
          <p:cNvGrpSpPr/>
          <p:nvPr/>
        </p:nvGrpSpPr>
        <p:grpSpPr>
          <a:xfrm>
            <a:off x="3044835" y="2443455"/>
            <a:ext cx="541875" cy="472405"/>
            <a:chOff x="8386933" y="3847561"/>
            <a:chExt cx="349085" cy="304331"/>
          </a:xfrm>
          <a:solidFill>
            <a:schemeClr val="bg1"/>
          </a:solidFill>
        </p:grpSpPr>
        <p:sp>
          <p:nvSpPr>
            <p:cNvPr id="24" name="Freeform 873"/>
            <p:cNvSpPr>
              <a:spLocks/>
            </p:cNvSpPr>
            <p:nvPr/>
          </p:nvSpPr>
          <p:spPr bwMode="auto">
            <a:xfrm rot="5400000">
              <a:off x="8393645" y="3925881"/>
              <a:ext cx="219299" cy="232724"/>
            </a:xfrm>
            <a:custGeom>
              <a:avLst/>
              <a:gdLst>
                <a:gd name="T0" fmla="*/ 97 w 97"/>
                <a:gd name="T1" fmla="*/ 81 h 106"/>
                <a:gd name="T2" fmla="*/ 97 w 97"/>
                <a:gd name="T3" fmla="*/ 81 h 106"/>
                <a:gd name="T4" fmla="*/ 96 w 97"/>
                <a:gd name="T5" fmla="*/ 82 h 106"/>
                <a:gd name="T6" fmla="*/ 96 w 97"/>
                <a:gd name="T7" fmla="*/ 82 h 106"/>
                <a:gd name="T8" fmla="*/ 95 w 97"/>
                <a:gd name="T9" fmla="*/ 85 h 106"/>
                <a:gd name="T10" fmla="*/ 93 w 97"/>
                <a:gd name="T11" fmla="*/ 85 h 106"/>
                <a:gd name="T12" fmla="*/ 75 w 97"/>
                <a:gd name="T13" fmla="*/ 85 h 106"/>
                <a:gd name="T14" fmla="*/ 75 w 97"/>
                <a:gd name="T15" fmla="*/ 102 h 106"/>
                <a:gd name="T16" fmla="*/ 75 w 97"/>
                <a:gd name="T17" fmla="*/ 102 h 106"/>
                <a:gd name="T18" fmla="*/ 73 w 97"/>
                <a:gd name="T19" fmla="*/ 105 h 106"/>
                <a:gd name="T20" fmla="*/ 71 w 97"/>
                <a:gd name="T21" fmla="*/ 106 h 106"/>
                <a:gd name="T22" fmla="*/ 4 w 97"/>
                <a:gd name="T23" fmla="*/ 106 h 106"/>
                <a:gd name="T24" fmla="*/ 4 w 97"/>
                <a:gd name="T25" fmla="*/ 106 h 106"/>
                <a:gd name="T26" fmla="*/ 1 w 97"/>
                <a:gd name="T27" fmla="*/ 105 h 106"/>
                <a:gd name="T28" fmla="*/ 0 w 97"/>
                <a:gd name="T29" fmla="*/ 102 h 106"/>
                <a:gd name="T30" fmla="*/ 0 w 97"/>
                <a:gd name="T31" fmla="*/ 4 h 106"/>
                <a:gd name="T32" fmla="*/ 0 w 97"/>
                <a:gd name="T33" fmla="*/ 4 h 106"/>
                <a:gd name="T34" fmla="*/ 1 w 97"/>
                <a:gd name="T35" fmla="*/ 2 h 106"/>
                <a:gd name="T36" fmla="*/ 4 w 97"/>
                <a:gd name="T37" fmla="*/ 0 h 106"/>
                <a:gd name="T38" fmla="*/ 71 w 97"/>
                <a:gd name="T39" fmla="*/ 0 h 106"/>
                <a:gd name="T40" fmla="*/ 71 w 97"/>
                <a:gd name="T41" fmla="*/ 0 h 106"/>
                <a:gd name="T42" fmla="*/ 73 w 97"/>
                <a:gd name="T43" fmla="*/ 2 h 106"/>
                <a:gd name="T44" fmla="*/ 75 w 97"/>
                <a:gd name="T45" fmla="*/ 4 h 106"/>
                <a:gd name="T46" fmla="*/ 75 w 97"/>
                <a:gd name="T47" fmla="*/ 34 h 106"/>
                <a:gd name="T48" fmla="*/ 75 w 97"/>
                <a:gd name="T49" fmla="*/ 34 h 106"/>
                <a:gd name="T50" fmla="*/ 73 w 97"/>
                <a:gd name="T51" fmla="*/ 36 h 106"/>
                <a:gd name="T52" fmla="*/ 71 w 97"/>
                <a:gd name="T53" fmla="*/ 38 h 106"/>
                <a:gd name="T54" fmla="*/ 71 w 97"/>
                <a:gd name="T55" fmla="*/ 38 h 106"/>
                <a:gd name="T56" fmla="*/ 68 w 97"/>
                <a:gd name="T57" fmla="*/ 36 h 106"/>
                <a:gd name="T58" fmla="*/ 67 w 97"/>
                <a:gd name="T59" fmla="*/ 34 h 106"/>
                <a:gd name="T60" fmla="*/ 67 w 97"/>
                <a:gd name="T61" fmla="*/ 8 h 106"/>
                <a:gd name="T62" fmla="*/ 8 w 97"/>
                <a:gd name="T63" fmla="*/ 8 h 106"/>
                <a:gd name="T64" fmla="*/ 8 w 97"/>
                <a:gd name="T65" fmla="*/ 98 h 106"/>
                <a:gd name="T66" fmla="*/ 67 w 97"/>
                <a:gd name="T67" fmla="*/ 98 h 106"/>
                <a:gd name="T68" fmla="*/ 67 w 97"/>
                <a:gd name="T69" fmla="*/ 81 h 106"/>
                <a:gd name="T70" fmla="*/ 67 w 97"/>
                <a:gd name="T71" fmla="*/ 81 h 106"/>
                <a:gd name="T72" fmla="*/ 68 w 97"/>
                <a:gd name="T73" fmla="*/ 78 h 106"/>
                <a:gd name="T74" fmla="*/ 68 w 97"/>
                <a:gd name="T75" fmla="*/ 78 h 106"/>
                <a:gd name="T76" fmla="*/ 71 w 97"/>
                <a:gd name="T77" fmla="*/ 77 h 106"/>
                <a:gd name="T78" fmla="*/ 87 w 97"/>
                <a:gd name="T79" fmla="*/ 77 h 106"/>
                <a:gd name="T80" fmla="*/ 68 w 97"/>
                <a:gd name="T81" fmla="*/ 51 h 106"/>
                <a:gd name="T82" fmla="*/ 68 w 97"/>
                <a:gd name="T83" fmla="*/ 51 h 106"/>
                <a:gd name="T84" fmla="*/ 67 w 97"/>
                <a:gd name="T85" fmla="*/ 48 h 106"/>
                <a:gd name="T86" fmla="*/ 69 w 97"/>
                <a:gd name="T87" fmla="*/ 46 h 106"/>
                <a:gd name="T88" fmla="*/ 69 w 97"/>
                <a:gd name="T89" fmla="*/ 46 h 106"/>
                <a:gd name="T90" fmla="*/ 72 w 97"/>
                <a:gd name="T91" fmla="*/ 46 h 106"/>
                <a:gd name="T92" fmla="*/ 73 w 97"/>
                <a:gd name="T93" fmla="*/ 47 h 106"/>
                <a:gd name="T94" fmla="*/ 96 w 97"/>
                <a:gd name="T95" fmla="*/ 79 h 106"/>
                <a:gd name="T96" fmla="*/ 96 w 97"/>
                <a:gd name="T97" fmla="*/ 79 h 106"/>
                <a:gd name="T98" fmla="*/ 97 w 97"/>
                <a:gd name="T99" fmla="*/ 81 h 106"/>
                <a:gd name="T100" fmla="*/ 97 w 97"/>
                <a:gd name="T101" fmla="*/ 8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 h="106">
                  <a:moveTo>
                    <a:pt x="97" y="81"/>
                  </a:moveTo>
                  <a:lnTo>
                    <a:pt x="97" y="81"/>
                  </a:lnTo>
                  <a:lnTo>
                    <a:pt x="96" y="82"/>
                  </a:lnTo>
                  <a:lnTo>
                    <a:pt x="96" y="82"/>
                  </a:lnTo>
                  <a:lnTo>
                    <a:pt x="95" y="85"/>
                  </a:lnTo>
                  <a:lnTo>
                    <a:pt x="93" y="85"/>
                  </a:lnTo>
                  <a:lnTo>
                    <a:pt x="75" y="85"/>
                  </a:lnTo>
                  <a:lnTo>
                    <a:pt x="75" y="102"/>
                  </a:lnTo>
                  <a:lnTo>
                    <a:pt x="75" y="102"/>
                  </a:lnTo>
                  <a:lnTo>
                    <a:pt x="73" y="105"/>
                  </a:lnTo>
                  <a:lnTo>
                    <a:pt x="71" y="106"/>
                  </a:lnTo>
                  <a:lnTo>
                    <a:pt x="4" y="106"/>
                  </a:lnTo>
                  <a:lnTo>
                    <a:pt x="4" y="106"/>
                  </a:lnTo>
                  <a:lnTo>
                    <a:pt x="1" y="105"/>
                  </a:lnTo>
                  <a:lnTo>
                    <a:pt x="0" y="102"/>
                  </a:lnTo>
                  <a:lnTo>
                    <a:pt x="0" y="4"/>
                  </a:lnTo>
                  <a:lnTo>
                    <a:pt x="0" y="4"/>
                  </a:lnTo>
                  <a:lnTo>
                    <a:pt x="1" y="2"/>
                  </a:lnTo>
                  <a:lnTo>
                    <a:pt x="4" y="0"/>
                  </a:lnTo>
                  <a:lnTo>
                    <a:pt x="71" y="0"/>
                  </a:lnTo>
                  <a:lnTo>
                    <a:pt x="71" y="0"/>
                  </a:lnTo>
                  <a:lnTo>
                    <a:pt x="73" y="2"/>
                  </a:lnTo>
                  <a:lnTo>
                    <a:pt x="75" y="4"/>
                  </a:lnTo>
                  <a:lnTo>
                    <a:pt x="75" y="34"/>
                  </a:lnTo>
                  <a:lnTo>
                    <a:pt x="75" y="34"/>
                  </a:lnTo>
                  <a:lnTo>
                    <a:pt x="73" y="36"/>
                  </a:lnTo>
                  <a:lnTo>
                    <a:pt x="71" y="38"/>
                  </a:lnTo>
                  <a:lnTo>
                    <a:pt x="71" y="38"/>
                  </a:lnTo>
                  <a:lnTo>
                    <a:pt x="68" y="36"/>
                  </a:lnTo>
                  <a:lnTo>
                    <a:pt x="67" y="34"/>
                  </a:lnTo>
                  <a:lnTo>
                    <a:pt x="67" y="8"/>
                  </a:lnTo>
                  <a:lnTo>
                    <a:pt x="8" y="8"/>
                  </a:lnTo>
                  <a:lnTo>
                    <a:pt x="8" y="98"/>
                  </a:lnTo>
                  <a:lnTo>
                    <a:pt x="67" y="98"/>
                  </a:lnTo>
                  <a:lnTo>
                    <a:pt x="67" y="81"/>
                  </a:lnTo>
                  <a:lnTo>
                    <a:pt x="67" y="81"/>
                  </a:lnTo>
                  <a:lnTo>
                    <a:pt x="68" y="78"/>
                  </a:lnTo>
                  <a:lnTo>
                    <a:pt x="68" y="78"/>
                  </a:lnTo>
                  <a:lnTo>
                    <a:pt x="71" y="77"/>
                  </a:lnTo>
                  <a:lnTo>
                    <a:pt x="87" y="77"/>
                  </a:lnTo>
                  <a:lnTo>
                    <a:pt x="68" y="51"/>
                  </a:lnTo>
                  <a:lnTo>
                    <a:pt x="68" y="51"/>
                  </a:lnTo>
                  <a:lnTo>
                    <a:pt x="67" y="48"/>
                  </a:lnTo>
                  <a:lnTo>
                    <a:pt x="69" y="46"/>
                  </a:lnTo>
                  <a:lnTo>
                    <a:pt x="69" y="46"/>
                  </a:lnTo>
                  <a:lnTo>
                    <a:pt x="72" y="46"/>
                  </a:lnTo>
                  <a:lnTo>
                    <a:pt x="73" y="47"/>
                  </a:lnTo>
                  <a:lnTo>
                    <a:pt x="96" y="79"/>
                  </a:lnTo>
                  <a:lnTo>
                    <a:pt x="96" y="79"/>
                  </a:lnTo>
                  <a:lnTo>
                    <a:pt x="97" y="81"/>
                  </a:lnTo>
                  <a:lnTo>
                    <a:pt x="97"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74"/>
            <p:cNvSpPr>
              <a:spLocks/>
            </p:cNvSpPr>
            <p:nvPr/>
          </p:nvSpPr>
          <p:spPr bwMode="auto">
            <a:xfrm rot="5400000">
              <a:off x="8503294" y="3829659"/>
              <a:ext cx="214822" cy="250626"/>
            </a:xfrm>
            <a:custGeom>
              <a:avLst/>
              <a:gdLst>
                <a:gd name="T0" fmla="*/ 97 w 97"/>
                <a:gd name="T1" fmla="*/ 26 h 112"/>
                <a:gd name="T2" fmla="*/ 97 w 97"/>
                <a:gd name="T3" fmla="*/ 26 h 112"/>
                <a:gd name="T4" fmla="*/ 97 w 97"/>
                <a:gd name="T5" fmla="*/ 27 h 112"/>
                <a:gd name="T6" fmla="*/ 82 w 97"/>
                <a:gd name="T7" fmla="*/ 44 h 112"/>
                <a:gd name="T8" fmla="*/ 82 w 97"/>
                <a:gd name="T9" fmla="*/ 44 h 112"/>
                <a:gd name="T10" fmla="*/ 79 w 97"/>
                <a:gd name="T11" fmla="*/ 46 h 112"/>
                <a:gd name="T12" fmla="*/ 77 w 97"/>
                <a:gd name="T13" fmla="*/ 44 h 112"/>
                <a:gd name="T14" fmla="*/ 77 w 97"/>
                <a:gd name="T15" fmla="*/ 44 h 112"/>
                <a:gd name="T16" fmla="*/ 75 w 97"/>
                <a:gd name="T17" fmla="*/ 42 h 112"/>
                <a:gd name="T18" fmla="*/ 77 w 97"/>
                <a:gd name="T19" fmla="*/ 39 h 112"/>
                <a:gd name="T20" fmla="*/ 85 w 97"/>
                <a:gd name="T21" fmla="*/ 28 h 112"/>
                <a:gd name="T22" fmla="*/ 71 w 97"/>
                <a:gd name="T23" fmla="*/ 28 h 112"/>
                <a:gd name="T24" fmla="*/ 71 w 97"/>
                <a:gd name="T25" fmla="*/ 28 h 112"/>
                <a:gd name="T26" fmla="*/ 68 w 97"/>
                <a:gd name="T27" fmla="*/ 28 h 112"/>
                <a:gd name="T28" fmla="*/ 68 w 97"/>
                <a:gd name="T29" fmla="*/ 28 h 112"/>
                <a:gd name="T30" fmla="*/ 67 w 97"/>
                <a:gd name="T31" fmla="*/ 26 h 112"/>
                <a:gd name="T32" fmla="*/ 67 w 97"/>
                <a:gd name="T33" fmla="*/ 8 h 112"/>
                <a:gd name="T34" fmla="*/ 27 w 97"/>
                <a:gd name="T35" fmla="*/ 8 h 112"/>
                <a:gd name="T36" fmla="*/ 27 w 97"/>
                <a:gd name="T37" fmla="*/ 8 h 112"/>
                <a:gd name="T38" fmla="*/ 19 w 97"/>
                <a:gd name="T39" fmla="*/ 10 h 112"/>
                <a:gd name="T40" fmla="*/ 14 w 97"/>
                <a:gd name="T41" fmla="*/ 14 h 112"/>
                <a:gd name="T42" fmla="*/ 10 w 97"/>
                <a:gd name="T43" fmla="*/ 19 h 112"/>
                <a:gd name="T44" fmla="*/ 8 w 97"/>
                <a:gd name="T45" fmla="*/ 27 h 112"/>
                <a:gd name="T46" fmla="*/ 8 w 97"/>
                <a:gd name="T47" fmla="*/ 104 h 112"/>
                <a:gd name="T48" fmla="*/ 27 w 97"/>
                <a:gd name="T49" fmla="*/ 104 h 112"/>
                <a:gd name="T50" fmla="*/ 27 w 97"/>
                <a:gd name="T51" fmla="*/ 104 h 112"/>
                <a:gd name="T52" fmla="*/ 30 w 97"/>
                <a:gd name="T53" fmla="*/ 106 h 112"/>
                <a:gd name="T54" fmla="*/ 30 w 97"/>
                <a:gd name="T55" fmla="*/ 108 h 112"/>
                <a:gd name="T56" fmla="*/ 30 w 97"/>
                <a:gd name="T57" fmla="*/ 108 h 112"/>
                <a:gd name="T58" fmla="*/ 30 w 97"/>
                <a:gd name="T59" fmla="*/ 111 h 112"/>
                <a:gd name="T60" fmla="*/ 27 w 97"/>
                <a:gd name="T61" fmla="*/ 112 h 112"/>
                <a:gd name="T62" fmla="*/ 4 w 97"/>
                <a:gd name="T63" fmla="*/ 112 h 112"/>
                <a:gd name="T64" fmla="*/ 4 w 97"/>
                <a:gd name="T65" fmla="*/ 112 h 112"/>
                <a:gd name="T66" fmla="*/ 2 w 97"/>
                <a:gd name="T67" fmla="*/ 111 h 112"/>
                <a:gd name="T68" fmla="*/ 0 w 97"/>
                <a:gd name="T69" fmla="*/ 108 h 112"/>
                <a:gd name="T70" fmla="*/ 0 w 97"/>
                <a:gd name="T71" fmla="*/ 27 h 112"/>
                <a:gd name="T72" fmla="*/ 0 w 97"/>
                <a:gd name="T73" fmla="*/ 27 h 112"/>
                <a:gd name="T74" fmla="*/ 0 w 97"/>
                <a:gd name="T75" fmla="*/ 22 h 112"/>
                <a:gd name="T76" fmla="*/ 3 w 97"/>
                <a:gd name="T77" fmla="*/ 16 h 112"/>
                <a:gd name="T78" fmla="*/ 4 w 97"/>
                <a:gd name="T79" fmla="*/ 12 h 112"/>
                <a:gd name="T80" fmla="*/ 8 w 97"/>
                <a:gd name="T81" fmla="*/ 8 h 112"/>
                <a:gd name="T82" fmla="*/ 12 w 97"/>
                <a:gd name="T83" fmla="*/ 4 h 112"/>
                <a:gd name="T84" fmla="*/ 16 w 97"/>
                <a:gd name="T85" fmla="*/ 3 h 112"/>
                <a:gd name="T86" fmla="*/ 22 w 97"/>
                <a:gd name="T87" fmla="*/ 0 h 112"/>
                <a:gd name="T88" fmla="*/ 27 w 97"/>
                <a:gd name="T89" fmla="*/ 0 h 112"/>
                <a:gd name="T90" fmla="*/ 71 w 97"/>
                <a:gd name="T91" fmla="*/ 0 h 112"/>
                <a:gd name="T92" fmla="*/ 71 w 97"/>
                <a:gd name="T93" fmla="*/ 0 h 112"/>
                <a:gd name="T94" fmla="*/ 74 w 97"/>
                <a:gd name="T95" fmla="*/ 2 h 112"/>
                <a:gd name="T96" fmla="*/ 75 w 97"/>
                <a:gd name="T97" fmla="*/ 4 h 112"/>
                <a:gd name="T98" fmla="*/ 75 w 97"/>
                <a:gd name="T99" fmla="*/ 22 h 112"/>
                <a:gd name="T100" fmla="*/ 93 w 97"/>
                <a:gd name="T101" fmla="*/ 22 h 112"/>
                <a:gd name="T102" fmla="*/ 93 w 97"/>
                <a:gd name="T103" fmla="*/ 22 h 112"/>
                <a:gd name="T104" fmla="*/ 95 w 97"/>
                <a:gd name="T105" fmla="*/ 22 h 112"/>
                <a:gd name="T106" fmla="*/ 97 w 97"/>
                <a:gd name="T107" fmla="*/ 23 h 112"/>
                <a:gd name="T108" fmla="*/ 97 w 97"/>
                <a:gd name="T109" fmla="*/ 23 h 112"/>
                <a:gd name="T110" fmla="*/ 97 w 97"/>
                <a:gd name="T111" fmla="*/ 26 h 112"/>
                <a:gd name="T112" fmla="*/ 97 w 97"/>
                <a:gd name="T113" fmla="*/ 2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7" h="112">
                  <a:moveTo>
                    <a:pt x="97" y="26"/>
                  </a:moveTo>
                  <a:lnTo>
                    <a:pt x="97" y="26"/>
                  </a:lnTo>
                  <a:lnTo>
                    <a:pt x="97" y="27"/>
                  </a:lnTo>
                  <a:lnTo>
                    <a:pt x="82" y="44"/>
                  </a:lnTo>
                  <a:lnTo>
                    <a:pt x="82" y="44"/>
                  </a:lnTo>
                  <a:lnTo>
                    <a:pt x="79" y="46"/>
                  </a:lnTo>
                  <a:lnTo>
                    <a:pt x="77" y="44"/>
                  </a:lnTo>
                  <a:lnTo>
                    <a:pt x="77" y="44"/>
                  </a:lnTo>
                  <a:lnTo>
                    <a:pt x="75" y="42"/>
                  </a:lnTo>
                  <a:lnTo>
                    <a:pt x="77" y="39"/>
                  </a:lnTo>
                  <a:lnTo>
                    <a:pt x="85" y="28"/>
                  </a:lnTo>
                  <a:lnTo>
                    <a:pt x="71" y="28"/>
                  </a:lnTo>
                  <a:lnTo>
                    <a:pt x="71" y="28"/>
                  </a:lnTo>
                  <a:lnTo>
                    <a:pt x="68" y="28"/>
                  </a:lnTo>
                  <a:lnTo>
                    <a:pt x="68" y="28"/>
                  </a:lnTo>
                  <a:lnTo>
                    <a:pt x="67" y="26"/>
                  </a:lnTo>
                  <a:lnTo>
                    <a:pt x="67" y="8"/>
                  </a:lnTo>
                  <a:lnTo>
                    <a:pt x="27" y="8"/>
                  </a:lnTo>
                  <a:lnTo>
                    <a:pt x="27" y="8"/>
                  </a:lnTo>
                  <a:lnTo>
                    <a:pt x="19" y="10"/>
                  </a:lnTo>
                  <a:lnTo>
                    <a:pt x="14" y="14"/>
                  </a:lnTo>
                  <a:lnTo>
                    <a:pt x="10" y="19"/>
                  </a:lnTo>
                  <a:lnTo>
                    <a:pt x="8" y="27"/>
                  </a:lnTo>
                  <a:lnTo>
                    <a:pt x="8" y="104"/>
                  </a:lnTo>
                  <a:lnTo>
                    <a:pt x="27" y="104"/>
                  </a:lnTo>
                  <a:lnTo>
                    <a:pt x="27" y="104"/>
                  </a:lnTo>
                  <a:lnTo>
                    <a:pt x="30" y="106"/>
                  </a:lnTo>
                  <a:lnTo>
                    <a:pt x="30" y="108"/>
                  </a:lnTo>
                  <a:lnTo>
                    <a:pt x="30" y="108"/>
                  </a:lnTo>
                  <a:lnTo>
                    <a:pt x="30" y="111"/>
                  </a:lnTo>
                  <a:lnTo>
                    <a:pt x="27" y="112"/>
                  </a:lnTo>
                  <a:lnTo>
                    <a:pt x="4" y="112"/>
                  </a:lnTo>
                  <a:lnTo>
                    <a:pt x="4" y="112"/>
                  </a:lnTo>
                  <a:lnTo>
                    <a:pt x="2" y="111"/>
                  </a:lnTo>
                  <a:lnTo>
                    <a:pt x="0" y="108"/>
                  </a:lnTo>
                  <a:lnTo>
                    <a:pt x="0" y="27"/>
                  </a:lnTo>
                  <a:lnTo>
                    <a:pt x="0" y="27"/>
                  </a:lnTo>
                  <a:lnTo>
                    <a:pt x="0" y="22"/>
                  </a:lnTo>
                  <a:lnTo>
                    <a:pt x="3" y="16"/>
                  </a:lnTo>
                  <a:lnTo>
                    <a:pt x="4" y="12"/>
                  </a:lnTo>
                  <a:lnTo>
                    <a:pt x="8" y="8"/>
                  </a:lnTo>
                  <a:lnTo>
                    <a:pt x="12" y="4"/>
                  </a:lnTo>
                  <a:lnTo>
                    <a:pt x="16" y="3"/>
                  </a:lnTo>
                  <a:lnTo>
                    <a:pt x="22" y="0"/>
                  </a:lnTo>
                  <a:lnTo>
                    <a:pt x="27" y="0"/>
                  </a:lnTo>
                  <a:lnTo>
                    <a:pt x="71" y="0"/>
                  </a:lnTo>
                  <a:lnTo>
                    <a:pt x="71" y="0"/>
                  </a:lnTo>
                  <a:lnTo>
                    <a:pt x="74" y="2"/>
                  </a:lnTo>
                  <a:lnTo>
                    <a:pt x="75" y="4"/>
                  </a:lnTo>
                  <a:lnTo>
                    <a:pt x="75" y="22"/>
                  </a:lnTo>
                  <a:lnTo>
                    <a:pt x="93" y="22"/>
                  </a:lnTo>
                  <a:lnTo>
                    <a:pt x="93" y="22"/>
                  </a:lnTo>
                  <a:lnTo>
                    <a:pt x="95" y="22"/>
                  </a:lnTo>
                  <a:lnTo>
                    <a:pt x="97" y="23"/>
                  </a:lnTo>
                  <a:lnTo>
                    <a:pt x="97" y="23"/>
                  </a:lnTo>
                  <a:lnTo>
                    <a:pt x="97" y="26"/>
                  </a:lnTo>
                  <a:lnTo>
                    <a:pt x="9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 name="Straight Connector 5"/>
          <p:cNvCxnSpPr/>
          <p:nvPr/>
        </p:nvCxnSpPr>
        <p:spPr>
          <a:xfrm>
            <a:off x="2" y="2649091"/>
            <a:ext cx="268514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0038513"/>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C554EC76-11F1-40B4-8757-8208523BB65A}"/>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3549" r="23549"/>
          <a:stretch>
            <a:fillRect/>
          </a:stretch>
        </p:blipFill>
        <p:spPr/>
      </p:pic>
      <p:sp>
        <p:nvSpPr>
          <p:cNvPr id="2" name="Slide Number Placeholder 1"/>
          <p:cNvSpPr>
            <a:spLocks noGrp="1"/>
          </p:cNvSpPr>
          <p:nvPr>
            <p:ph type="sldNum" sz="quarter" idx="12"/>
          </p:nvPr>
        </p:nvSpPr>
        <p:spPr/>
        <p:txBody>
          <a:bodyPr/>
          <a:lstStyle/>
          <a:p>
            <a:fld id="{32ECD629-4DA5-4EAE-B174-69948CAAE2CE}" type="slidenum">
              <a:rPr lang="en-US" smtClean="0"/>
              <a:pPr/>
              <a:t>3</a:t>
            </a:fld>
            <a:endParaRPr lang="en-US" dirty="0"/>
          </a:p>
        </p:txBody>
      </p:sp>
      <p:sp>
        <p:nvSpPr>
          <p:cNvPr id="11" name="Title 11"/>
          <p:cNvSpPr txBox="1">
            <a:spLocks/>
          </p:cNvSpPr>
          <p:nvPr/>
        </p:nvSpPr>
        <p:spPr>
          <a:xfrm>
            <a:off x="4257145" y="1863607"/>
            <a:ext cx="3436056" cy="37574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140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rPr>
              <a:t>Insert Your Creative Idea </a:t>
            </a:r>
          </a:p>
        </p:txBody>
      </p:sp>
      <p:sp>
        <p:nvSpPr>
          <p:cNvPr id="12" name="Title 11"/>
          <p:cNvSpPr txBox="1">
            <a:spLocks/>
          </p:cNvSpPr>
          <p:nvPr/>
        </p:nvSpPr>
        <p:spPr>
          <a:xfrm>
            <a:off x="2330174" y="1295173"/>
            <a:ext cx="5363028" cy="646331"/>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4000" b="1" spc="-300" dirty="0">
                <a:solidFill>
                  <a:schemeClr val="tx1">
                    <a:lumMod val="90000"/>
                    <a:lumOff val="10000"/>
                  </a:schemeClr>
                </a:solidFill>
                <a:latin typeface="Arial" panose="020B0604020202020204" pitchFamily="34" charset="0"/>
                <a:ea typeface="Roboto Light" panose="02000000000000000000" pitchFamily="2" charset="0"/>
                <a:cs typeface="Open Sans Light" panose="020B0306030504020204" pitchFamily="34" charset="0"/>
              </a:rPr>
              <a:t>Company Featured</a:t>
            </a:r>
          </a:p>
        </p:txBody>
      </p:sp>
      <p:sp>
        <p:nvSpPr>
          <p:cNvPr id="34" name="Parallelogram 33"/>
          <p:cNvSpPr/>
          <p:nvPr/>
        </p:nvSpPr>
        <p:spPr>
          <a:xfrm>
            <a:off x="8108266" y="3766813"/>
            <a:ext cx="3343420" cy="2604321"/>
          </a:xfrm>
          <a:prstGeom prst="parallelogram">
            <a:avLst>
              <a:gd name="adj" fmla="val 0"/>
            </a:avLst>
          </a:prstGeom>
          <a:pattFill prst="ltUpDiag">
            <a:fgClr>
              <a:schemeClr val="accent1">
                <a:lumMod val="50000"/>
              </a:schemeClr>
            </a:fgClr>
            <a:bgClr>
              <a:schemeClr val="tx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47" name="Rectangle 46"/>
          <p:cNvSpPr/>
          <p:nvPr/>
        </p:nvSpPr>
        <p:spPr>
          <a:xfrm>
            <a:off x="935980" y="2807782"/>
            <a:ext cx="2043981" cy="1663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351">
              <a:solidFill>
                <a:schemeClr val="tx1">
                  <a:lumMod val="75000"/>
                  <a:lumOff val="25000"/>
                </a:schemeClr>
              </a:solidFill>
            </a:endParaRPr>
          </a:p>
        </p:txBody>
      </p:sp>
      <p:sp>
        <p:nvSpPr>
          <p:cNvPr id="48" name="Rectangle 47"/>
          <p:cNvSpPr/>
          <p:nvPr/>
        </p:nvSpPr>
        <p:spPr>
          <a:xfrm>
            <a:off x="882885" y="4528538"/>
            <a:ext cx="2142385" cy="1015663"/>
          </a:xfrm>
          <a:prstGeom prst="rect">
            <a:avLst/>
          </a:prstGeom>
        </p:spPr>
        <p:txBody>
          <a:bodyPr wrap="square" anchor="ctr">
            <a:spAutoFit/>
          </a:bodyPr>
          <a:lstStyle/>
          <a:p>
            <a:pPr>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p>
        </p:txBody>
      </p:sp>
      <p:sp>
        <p:nvSpPr>
          <p:cNvPr id="49" name="Rectangle 48"/>
          <p:cNvSpPr/>
          <p:nvPr/>
        </p:nvSpPr>
        <p:spPr>
          <a:xfrm>
            <a:off x="1197063" y="3108506"/>
            <a:ext cx="1601935" cy="584775"/>
          </a:xfrm>
          <a:prstGeom prst="rect">
            <a:avLst/>
          </a:prstGeom>
        </p:spPr>
        <p:txBody>
          <a:bodyPr vert="horz" lIns="91440" tIns="45720" rIns="91440" bIns="45720" rtlCol="0" anchor="ctr">
            <a:noAutofit/>
          </a:bodyPr>
          <a:lstStyle/>
          <a:p>
            <a:pPr algn="ctr">
              <a:spcBef>
                <a:spcPct val="0"/>
              </a:spcBef>
            </a:pPr>
            <a:r>
              <a:rPr lang="en-US" sz="3200" b="1" spc="-151" noProof="1">
                <a:solidFill>
                  <a:schemeClr val="bg1"/>
                </a:solidFill>
                <a:latin typeface="Open Sans" panose="020B0606030504020204" pitchFamily="34" charset="0"/>
                <a:ea typeface="Open Sans" panose="020B0606030504020204" pitchFamily="34" charset="0"/>
                <a:cs typeface="Open Sans" panose="020B0606030504020204" pitchFamily="34" charset="0"/>
              </a:rPr>
              <a:t>15K</a:t>
            </a:r>
          </a:p>
        </p:txBody>
      </p:sp>
      <p:sp>
        <p:nvSpPr>
          <p:cNvPr id="50" name="Rectangle 49"/>
          <p:cNvSpPr/>
          <p:nvPr/>
        </p:nvSpPr>
        <p:spPr>
          <a:xfrm>
            <a:off x="989064" y="3834029"/>
            <a:ext cx="1979265" cy="367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1400" noProof="1">
                <a:solidFill>
                  <a:schemeClr val="bg1"/>
                </a:solidFill>
                <a:latin typeface="Open Sans" panose="020B0606030504020204" pitchFamily="34" charset="0"/>
                <a:ea typeface="Open Sans" panose="020B0606030504020204" pitchFamily="34" charset="0"/>
                <a:cs typeface="Open Sans" panose="020B0606030504020204" pitchFamily="34" charset="0"/>
              </a:rPr>
              <a:t>LOREM IPSUM DOLOR </a:t>
            </a:r>
          </a:p>
        </p:txBody>
      </p:sp>
      <p:sp>
        <p:nvSpPr>
          <p:cNvPr id="51" name="Rectangle 50"/>
          <p:cNvSpPr/>
          <p:nvPr/>
        </p:nvSpPr>
        <p:spPr>
          <a:xfrm>
            <a:off x="3187962" y="2807782"/>
            <a:ext cx="2043981" cy="16637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351">
              <a:solidFill>
                <a:schemeClr val="tx1">
                  <a:lumMod val="75000"/>
                  <a:lumOff val="25000"/>
                </a:schemeClr>
              </a:solidFill>
            </a:endParaRPr>
          </a:p>
        </p:txBody>
      </p:sp>
      <p:sp>
        <p:nvSpPr>
          <p:cNvPr id="52" name="Rectangle 51"/>
          <p:cNvSpPr/>
          <p:nvPr/>
        </p:nvSpPr>
        <p:spPr>
          <a:xfrm>
            <a:off x="3134868" y="4528538"/>
            <a:ext cx="2142385" cy="1015663"/>
          </a:xfrm>
          <a:prstGeom prst="rect">
            <a:avLst/>
          </a:prstGeom>
        </p:spPr>
        <p:txBody>
          <a:bodyPr wrap="square" anchor="ctr">
            <a:spAutoFit/>
          </a:bodyPr>
          <a:lstStyle/>
          <a:p>
            <a:pPr>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p>
        </p:txBody>
      </p:sp>
      <p:sp>
        <p:nvSpPr>
          <p:cNvPr id="53" name="Rectangle 52"/>
          <p:cNvSpPr/>
          <p:nvPr/>
        </p:nvSpPr>
        <p:spPr>
          <a:xfrm>
            <a:off x="3449046" y="3108506"/>
            <a:ext cx="1601935" cy="584775"/>
          </a:xfrm>
          <a:prstGeom prst="rect">
            <a:avLst/>
          </a:prstGeom>
        </p:spPr>
        <p:txBody>
          <a:bodyPr vert="horz" lIns="91440" tIns="45720" rIns="91440" bIns="45720" rtlCol="0" anchor="ctr">
            <a:noAutofit/>
          </a:bodyPr>
          <a:lstStyle/>
          <a:p>
            <a:pPr algn="ctr">
              <a:spcBef>
                <a:spcPct val="0"/>
              </a:spcBef>
            </a:pPr>
            <a:r>
              <a:rPr lang="en-US" sz="3200" b="1" spc="-151" noProof="1">
                <a:solidFill>
                  <a:schemeClr val="bg1"/>
                </a:solidFill>
                <a:latin typeface="Open Sans" panose="020B0606030504020204" pitchFamily="34" charset="0"/>
                <a:ea typeface="Open Sans" panose="020B0606030504020204" pitchFamily="34" charset="0"/>
                <a:cs typeface="Open Sans" panose="020B0606030504020204" pitchFamily="34" charset="0"/>
              </a:rPr>
              <a:t>455K</a:t>
            </a:r>
          </a:p>
        </p:txBody>
      </p:sp>
      <p:sp>
        <p:nvSpPr>
          <p:cNvPr id="54" name="Rectangle 53"/>
          <p:cNvSpPr/>
          <p:nvPr/>
        </p:nvSpPr>
        <p:spPr>
          <a:xfrm>
            <a:off x="3241045" y="3834029"/>
            <a:ext cx="1979265" cy="367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1400" noProof="1">
                <a:solidFill>
                  <a:schemeClr val="bg1"/>
                </a:solidFill>
                <a:latin typeface="Open Sans" panose="020B0606030504020204" pitchFamily="34" charset="0"/>
                <a:ea typeface="Open Sans" panose="020B0606030504020204" pitchFamily="34" charset="0"/>
                <a:cs typeface="Open Sans" panose="020B0606030504020204" pitchFamily="34" charset="0"/>
              </a:rPr>
              <a:t>LOREM IPSUM DOLOR </a:t>
            </a:r>
          </a:p>
        </p:txBody>
      </p:sp>
      <p:sp>
        <p:nvSpPr>
          <p:cNvPr id="55" name="Rectangle 54"/>
          <p:cNvSpPr/>
          <p:nvPr/>
        </p:nvSpPr>
        <p:spPr>
          <a:xfrm>
            <a:off x="5439944" y="2807782"/>
            <a:ext cx="2043981" cy="16637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5386849" y="4528538"/>
            <a:ext cx="2142385" cy="1015663"/>
          </a:xfrm>
          <a:prstGeom prst="rect">
            <a:avLst/>
          </a:prstGeom>
        </p:spPr>
        <p:txBody>
          <a:bodyPr wrap="square" anchor="ctr">
            <a:spAutoFit/>
          </a:bodyPr>
          <a:lstStyle/>
          <a:p>
            <a:pPr>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p>
        </p:txBody>
      </p:sp>
      <p:sp>
        <p:nvSpPr>
          <p:cNvPr id="57" name="Rectangle 56"/>
          <p:cNvSpPr/>
          <p:nvPr/>
        </p:nvSpPr>
        <p:spPr>
          <a:xfrm>
            <a:off x="5701027" y="3108506"/>
            <a:ext cx="1601935" cy="584775"/>
          </a:xfrm>
          <a:prstGeom prst="rect">
            <a:avLst/>
          </a:prstGeom>
        </p:spPr>
        <p:txBody>
          <a:bodyPr vert="horz" lIns="91440" tIns="45720" rIns="91440" bIns="45720" rtlCol="0" anchor="ctr">
            <a:noAutofit/>
          </a:bodyPr>
          <a:lstStyle/>
          <a:p>
            <a:pPr algn="ctr">
              <a:spcBef>
                <a:spcPct val="0"/>
              </a:spcBef>
            </a:pPr>
            <a:r>
              <a:rPr lang="en-US" sz="3200" b="1" spc="-151" noProof="1">
                <a:solidFill>
                  <a:schemeClr val="bg1"/>
                </a:solidFill>
                <a:latin typeface="Open Sans" panose="020B0606030504020204" pitchFamily="34" charset="0"/>
                <a:ea typeface="Open Sans" panose="020B0606030504020204" pitchFamily="34" charset="0"/>
                <a:cs typeface="Open Sans" panose="020B0606030504020204" pitchFamily="34" charset="0"/>
              </a:rPr>
              <a:t>6455K</a:t>
            </a:r>
          </a:p>
        </p:txBody>
      </p:sp>
      <p:sp>
        <p:nvSpPr>
          <p:cNvPr id="58" name="Rectangle 57"/>
          <p:cNvSpPr/>
          <p:nvPr/>
        </p:nvSpPr>
        <p:spPr>
          <a:xfrm>
            <a:off x="5493028" y="3834029"/>
            <a:ext cx="1979265" cy="367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1400" noProof="1">
                <a:solidFill>
                  <a:schemeClr val="bg1"/>
                </a:solidFill>
                <a:latin typeface="Open Sans" panose="020B0606030504020204" pitchFamily="34" charset="0"/>
                <a:ea typeface="Open Sans" panose="020B0606030504020204" pitchFamily="34" charset="0"/>
                <a:cs typeface="Open Sans" panose="020B0606030504020204" pitchFamily="34" charset="0"/>
              </a:rPr>
              <a:t>LOREM IPSUM DOLOR </a:t>
            </a:r>
          </a:p>
        </p:txBody>
      </p:sp>
      <p:sp>
        <p:nvSpPr>
          <p:cNvPr id="26" name="Text Placeholder 2"/>
          <p:cNvSpPr txBox="1">
            <a:spLocks/>
          </p:cNvSpPr>
          <p:nvPr/>
        </p:nvSpPr>
        <p:spPr>
          <a:xfrm>
            <a:off x="9091326" y="4056839"/>
            <a:ext cx="1522447" cy="507136"/>
          </a:xfrm>
          <a:prstGeom prst="rect">
            <a:avLst/>
          </a:prstGeom>
        </p:spPr>
        <p:txBody>
          <a:bodyPr vert="horz" lIns="91440" tIns="45720" rIns="91440" bIns="45720" rtlCol="0" anchor="ctr">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158</a:t>
            </a:r>
            <a:r>
              <a:rPr lang="id-ID" b="1" dirty="0">
                <a:solidFill>
                  <a:schemeClr val="bg1"/>
                </a:solidFill>
                <a:latin typeface="Open Sans" panose="020B0606030504020204" pitchFamily="34" charset="0"/>
                <a:ea typeface="Open Sans" panose="020B0606030504020204" pitchFamily="34" charset="0"/>
                <a:cs typeface="Open Sans" panose="020B0606030504020204" pitchFamily="34" charset="0"/>
              </a:rPr>
              <a:t>000+</a:t>
            </a:r>
          </a:p>
        </p:txBody>
      </p:sp>
      <p:sp>
        <p:nvSpPr>
          <p:cNvPr id="27" name="Text Placeholder 2"/>
          <p:cNvSpPr txBox="1">
            <a:spLocks/>
          </p:cNvSpPr>
          <p:nvPr/>
        </p:nvSpPr>
        <p:spPr>
          <a:xfrm>
            <a:off x="9091323" y="4455610"/>
            <a:ext cx="1823420" cy="39839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dd Text Here</a:t>
            </a:r>
            <a:endParaRPr lang="id-ID" sz="1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Group 28"/>
          <p:cNvGrpSpPr/>
          <p:nvPr/>
        </p:nvGrpSpPr>
        <p:grpSpPr>
          <a:xfrm>
            <a:off x="8480196" y="4234277"/>
            <a:ext cx="510829" cy="431563"/>
            <a:chOff x="13828713" y="2805113"/>
            <a:chExt cx="1381125" cy="1166812"/>
          </a:xfrm>
          <a:solidFill>
            <a:schemeClr val="bg1"/>
          </a:solidFill>
        </p:grpSpPr>
        <p:sp>
          <p:nvSpPr>
            <p:cNvPr id="30" name="Freeform 10"/>
            <p:cNvSpPr>
              <a:spLocks noEditPoints="1"/>
            </p:cNvSpPr>
            <p:nvPr/>
          </p:nvSpPr>
          <p:spPr bwMode="auto">
            <a:xfrm>
              <a:off x="14173200" y="3109913"/>
              <a:ext cx="690563" cy="690562"/>
            </a:xfrm>
            <a:custGeom>
              <a:avLst/>
              <a:gdLst>
                <a:gd name="T0" fmla="*/ 92 w 184"/>
                <a:gd name="T1" fmla="*/ 0 h 184"/>
                <a:gd name="T2" fmla="*/ 0 w 184"/>
                <a:gd name="T3" fmla="*/ 92 h 184"/>
                <a:gd name="T4" fmla="*/ 92 w 184"/>
                <a:gd name="T5" fmla="*/ 184 h 184"/>
                <a:gd name="T6" fmla="*/ 184 w 184"/>
                <a:gd name="T7" fmla="*/ 92 h 184"/>
                <a:gd name="T8" fmla="*/ 92 w 184"/>
                <a:gd name="T9" fmla="*/ 0 h 184"/>
                <a:gd name="T10" fmla="*/ 144 w 184"/>
                <a:gd name="T11" fmla="*/ 137 h 184"/>
                <a:gd name="T12" fmla="*/ 47 w 184"/>
                <a:gd name="T13" fmla="*/ 144 h 184"/>
                <a:gd name="T14" fmla="*/ 39 w 184"/>
                <a:gd name="T15" fmla="*/ 47 h 184"/>
                <a:gd name="T16" fmla="*/ 137 w 184"/>
                <a:gd name="T17" fmla="*/ 39 h 184"/>
                <a:gd name="T18" fmla="*/ 144 w 184"/>
                <a:gd name="T19" fmla="*/ 13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0"/>
                  </a:moveTo>
                  <a:cubicBezTo>
                    <a:pt x="41" y="0"/>
                    <a:pt x="0" y="41"/>
                    <a:pt x="0" y="92"/>
                  </a:cubicBezTo>
                  <a:cubicBezTo>
                    <a:pt x="0" y="143"/>
                    <a:pt x="41" y="184"/>
                    <a:pt x="92" y="184"/>
                  </a:cubicBezTo>
                  <a:cubicBezTo>
                    <a:pt x="143" y="184"/>
                    <a:pt x="184" y="143"/>
                    <a:pt x="184" y="92"/>
                  </a:cubicBezTo>
                  <a:cubicBezTo>
                    <a:pt x="184" y="41"/>
                    <a:pt x="143" y="0"/>
                    <a:pt x="92" y="0"/>
                  </a:cubicBezTo>
                  <a:close/>
                  <a:moveTo>
                    <a:pt x="144" y="137"/>
                  </a:moveTo>
                  <a:cubicBezTo>
                    <a:pt x="119" y="166"/>
                    <a:pt x="76" y="169"/>
                    <a:pt x="47" y="144"/>
                  </a:cubicBezTo>
                  <a:cubicBezTo>
                    <a:pt x="18" y="120"/>
                    <a:pt x="15" y="76"/>
                    <a:pt x="39" y="47"/>
                  </a:cubicBezTo>
                  <a:cubicBezTo>
                    <a:pt x="64" y="18"/>
                    <a:pt x="108" y="15"/>
                    <a:pt x="137" y="39"/>
                  </a:cubicBezTo>
                  <a:cubicBezTo>
                    <a:pt x="166" y="64"/>
                    <a:pt x="169" y="108"/>
                    <a:pt x="144" y="1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11"/>
            <p:cNvSpPr>
              <a:spLocks/>
            </p:cNvSpPr>
            <p:nvPr/>
          </p:nvSpPr>
          <p:spPr bwMode="auto">
            <a:xfrm>
              <a:off x="14346238" y="3281363"/>
              <a:ext cx="195263" cy="195262"/>
            </a:xfrm>
            <a:custGeom>
              <a:avLst/>
              <a:gdLst>
                <a:gd name="T0" fmla="*/ 46 w 52"/>
                <a:gd name="T1" fmla="*/ 0 h 52"/>
                <a:gd name="T2" fmla="*/ 0 w 52"/>
                <a:gd name="T3" fmla="*/ 46 h 52"/>
                <a:gd name="T4" fmla="*/ 0 w 52"/>
                <a:gd name="T5" fmla="*/ 46 h 52"/>
                <a:gd name="T6" fmla="*/ 6 w 52"/>
                <a:gd name="T7" fmla="*/ 52 h 52"/>
                <a:gd name="T8" fmla="*/ 11 w 52"/>
                <a:gd name="T9" fmla="*/ 46 h 52"/>
                <a:gd name="T10" fmla="*/ 11 w 52"/>
                <a:gd name="T11" fmla="*/ 46 h 52"/>
                <a:gd name="T12" fmla="*/ 46 w 52"/>
                <a:gd name="T13" fmla="*/ 11 h 52"/>
                <a:gd name="T14" fmla="*/ 52 w 52"/>
                <a:gd name="T15" fmla="*/ 6 h 52"/>
                <a:gd name="T16" fmla="*/ 46 w 52"/>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2">
                  <a:moveTo>
                    <a:pt x="46" y="0"/>
                  </a:moveTo>
                  <a:cubicBezTo>
                    <a:pt x="20" y="0"/>
                    <a:pt x="0" y="20"/>
                    <a:pt x="0" y="46"/>
                  </a:cubicBezTo>
                  <a:cubicBezTo>
                    <a:pt x="0" y="46"/>
                    <a:pt x="0" y="46"/>
                    <a:pt x="0" y="46"/>
                  </a:cubicBezTo>
                  <a:cubicBezTo>
                    <a:pt x="0" y="49"/>
                    <a:pt x="2" y="52"/>
                    <a:pt x="6" y="52"/>
                  </a:cubicBezTo>
                  <a:cubicBezTo>
                    <a:pt x="9" y="52"/>
                    <a:pt x="11" y="49"/>
                    <a:pt x="11" y="46"/>
                  </a:cubicBezTo>
                  <a:cubicBezTo>
                    <a:pt x="11" y="46"/>
                    <a:pt x="11" y="46"/>
                    <a:pt x="11" y="46"/>
                  </a:cubicBezTo>
                  <a:cubicBezTo>
                    <a:pt x="11" y="27"/>
                    <a:pt x="27" y="11"/>
                    <a:pt x="46" y="11"/>
                  </a:cubicBezTo>
                  <a:cubicBezTo>
                    <a:pt x="49" y="11"/>
                    <a:pt x="52" y="9"/>
                    <a:pt x="52" y="6"/>
                  </a:cubicBezTo>
                  <a:cubicBezTo>
                    <a:pt x="52" y="2"/>
                    <a:pt x="49" y="0"/>
                    <a:pt x="4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12"/>
            <p:cNvSpPr>
              <a:spLocks noEditPoints="1"/>
            </p:cNvSpPr>
            <p:nvPr/>
          </p:nvSpPr>
          <p:spPr bwMode="auto">
            <a:xfrm>
              <a:off x="13828713" y="2805113"/>
              <a:ext cx="1381125" cy="1166812"/>
            </a:xfrm>
            <a:custGeom>
              <a:avLst/>
              <a:gdLst>
                <a:gd name="T0" fmla="*/ 339 w 368"/>
                <a:gd name="T1" fmla="*/ 70 h 311"/>
                <a:gd name="T2" fmla="*/ 289 w 368"/>
                <a:gd name="T3" fmla="*/ 61 h 311"/>
                <a:gd name="T4" fmla="*/ 273 w 368"/>
                <a:gd name="T5" fmla="*/ 22 h 311"/>
                <a:gd name="T6" fmla="*/ 241 w 368"/>
                <a:gd name="T7" fmla="*/ 0 h 311"/>
                <a:gd name="T8" fmla="*/ 126 w 368"/>
                <a:gd name="T9" fmla="*/ 0 h 311"/>
                <a:gd name="T10" fmla="*/ 94 w 368"/>
                <a:gd name="T11" fmla="*/ 22 h 311"/>
                <a:gd name="T12" fmla="*/ 78 w 368"/>
                <a:gd name="T13" fmla="*/ 61 h 311"/>
                <a:gd name="T14" fmla="*/ 29 w 368"/>
                <a:gd name="T15" fmla="*/ 70 h 311"/>
                <a:gd name="T16" fmla="*/ 0 w 368"/>
                <a:gd name="T17" fmla="*/ 104 h 311"/>
                <a:gd name="T18" fmla="*/ 0 w 368"/>
                <a:gd name="T19" fmla="*/ 277 h 311"/>
                <a:gd name="T20" fmla="*/ 34 w 368"/>
                <a:gd name="T21" fmla="*/ 311 h 311"/>
                <a:gd name="T22" fmla="*/ 333 w 368"/>
                <a:gd name="T23" fmla="*/ 311 h 311"/>
                <a:gd name="T24" fmla="*/ 368 w 368"/>
                <a:gd name="T25" fmla="*/ 277 h 311"/>
                <a:gd name="T26" fmla="*/ 368 w 368"/>
                <a:gd name="T27" fmla="*/ 104 h 311"/>
                <a:gd name="T28" fmla="*/ 339 w 368"/>
                <a:gd name="T29" fmla="*/ 70 h 311"/>
                <a:gd name="T30" fmla="*/ 345 w 368"/>
                <a:gd name="T31" fmla="*/ 277 h 311"/>
                <a:gd name="T32" fmla="*/ 333 w 368"/>
                <a:gd name="T33" fmla="*/ 288 h 311"/>
                <a:gd name="T34" fmla="*/ 34 w 368"/>
                <a:gd name="T35" fmla="*/ 288 h 311"/>
                <a:gd name="T36" fmla="*/ 23 w 368"/>
                <a:gd name="T37" fmla="*/ 277 h 311"/>
                <a:gd name="T38" fmla="*/ 23 w 368"/>
                <a:gd name="T39" fmla="*/ 104 h 311"/>
                <a:gd name="T40" fmla="*/ 32 w 368"/>
                <a:gd name="T41" fmla="*/ 92 h 311"/>
                <a:gd name="T42" fmla="*/ 95 w 368"/>
                <a:gd name="T43" fmla="*/ 82 h 311"/>
                <a:gd name="T44" fmla="*/ 116 w 368"/>
                <a:gd name="T45" fmla="*/ 31 h 311"/>
                <a:gd name="T46" fmla="*/ 126 w 368"/>
                <a:gd name="T47" fmla="*/ 23 h 311"/>
                <a:gd name="T48" fmla="*/ 241 w 368"/>
                <a:gd name="T49" fmla="*/ 23 h 311"/>
                <a:gd name="T50" fmla="*/ 252 w 368"/>
                <a:gd name="T51" fmla="*/ 31 h 311"/>
                <a:gd name="T52" fmla="*/ 273 w 368"/>
                <a:gd name="T53" fmla="*/ 82 h 311"/>
                <a:gd name="T54" fmla="*/ 335 w 368"/>
                <a:gd name="T55" fmla="*/ 92 h 311"/>
                <a:gd name="T56" fmla="*/ 345 w 368"/>
                <a:gd name="T57" fmla="*/ 104 h 311"/>
                <a:gd name="T58" fmla="*/ 345 w 368"/>
                <a:gd name="T59" fmla="*/ 277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8" h="311">
                  <a:moveTo>
                    <a:pt x="339" y="70"/>
                  </a:moveTo>
                  <a:cubicBezTo>
                    <a:pt x="289" y="61"/>
                    <a:pt x="289" y="61"/>
                    <a:pt x="289" y="61"/>
                  </a:cubicBezTo>
                  <a:cubicBezTo>
                    <a:pt x="273" y="22"/>
                    <a:pt x="273" y="22"/>
                    <a:pt x="273" y="22"/>
                  </a:cubicBezTo>
                  <a:cubicBezTo>
                    <a:pt x="268" y="9"/>
                    <a:pt x="256" y="0"/>
                    <a:pt x="241" y="0"/>
                  </a:cubicBezTo>
                  <a:cubicBezTo>
                    <a:pt x="126" y="0"/>
                    <a:pt x="126" y="0"/>
                    <a:pt x="126" y="0"/>
                  </a:cubicBezTo>
                  <a:cubicBezTo>
                    <a:pt x="112" y="0"/>
                    <a:pt x="99" y="9"/>
                    <a:pt x="94" y="22"/>
                  </a:cubicBezTo>
                  <a:cubicBezTo>
                    <a:pt x="78" y="61"/>
                    <a:pt x="78" y="61"/>
                    <a:pt x="78" y="61"/>
                  </a:cubicBezTo>
                  <a:cubicBezTo>
                    <a:pt x="29" y="70"/>
                    <a:pt x="29" y="70"/>
                    <a:pt x="29" y="70"/>
                  </a:cubicBezTo>
                  <a:cubicBezTo>
                    <a:pt x="12" y="73"/>
                    <a:pt x="0" y="87"/>
                    <a:pt x="0" y="104"/>
                  </a:cubicBezTo>
                  <a:cubicBezTo>
                    <a:pt x="0" y="277"/>
                    <a:pt x="0" y="277"/>
                    <a:pt x="0" y="277"/>
                  </a:cubicBezTo>
                  <a:cubicBezTo>
                    <a:pt x="0" y="296"/>
                    <a:pt x="15" y="311"/>
                    <a:pt x="34" y="311"/>
                  </a:cubicBezTo>
                  <a:cubicBezTo>
                    <a:pt x="333" y="311"/>
                    <a:pt x="333" y="311"/>
                    <a:pt x="333" y="311"/>
                  </a:cubicBezTo>
                  <a:cubicBezTo>
                    <a:pt x="353" y="311"/>
                    <a:pt x="368" y="296"/>
                    <a:pt x="368" y="277"/>
                  </a:cubicBezTo>
                  <a:cubicBezTo>
                    <a:pt x="368" y="104"/>
                    <a:pt x="368" y="104"/>
                    <a:pt x="368" y="104"/>
                  </a:cubicBezTo>
                  <a:cubicBezTo>
                    <a:pt x="368" y="87"/>
                    <a:pt x="356" y="73"/>
                    <a:pt x="339" y="70"/>
                  </a:cubicBezTo>
                  <a:close/>
                  <a:moveTo>
                    <a:pt x="345" y="277"/>
                  </a:moveTo>
                  <a:cubicBezTo>
                    <a:pt x="345" y="283"/>
                    <a:pt x="340" y="288"/>
                    <a:pt x="333" y="288"/>
                  </a:cubicBezTo>
                  <a:cubicBezTo>
                    <a:pt x="34" y="288"/>
                    <a:pt x="34" y="288"/>
                    <a:pt x="34" y="288"/>
                  </a:cubicBezTo>
                  <a:cubicBezTo>
                    <a:pt x="28" y="288"/>
                    <a:pt x="23" y="283"/>
                    <a:pt x="23" y="277"/>
                  </a:cubicBezTo>
                  <a:cubicBezTo>
                    <a:pt x="23" y="104"/>
                    <a:pt x="23" y="104"/>
                    <a:pt x="23" y="104"/>
                  </a:cubicBezTo>
                  <a:cubicBezTo>
                    <a:pt x="23" y="98"/>
                    <a:pt x="27" y="93"/>
                    <a:pt x="32" y="92"/>
                  </a:cubicBezTo>
                  <a:cubicBezTo>
                    <a:pt x="95" y="82"/>
                    <a:pt x="95" y="82"/>
                    <a:pt x="95" y="82"/>
                  </a:cubicBezTo>
                  <a:cubicBezTo>
                    <a:pt x="116" y="31"/>
                    <a:pt x="116" y="31"/>
                    <a:pt x="116" y="31"/>
                  </a:cubicBezTo>
                  <a:cubicBezTo>
                    <a:pt x="117" y="26"/>
                    <a:pt x="122" y="23"/>
                    <a:pt x="126" y="23"/>
                  </a:cubicBezTo>
                  <a:cubicBezTo>
                    <a:pt x="241" y="23"/>
                    <a:pt x="241" y="23"/>
                    <a:pt x="241" y="23"/>
                  </a:cubicBezTo>
                  <a:cubicBezTo>
                    <a:pt x="246" y="23"/>
                    <a:pt x="250" y="26"/>
                    <a:pt x="252" y="31"/>
                  </a:cubicBezTo>
                  <a:cubicBezTo>
                    <a:pt x="273" y="82"/>
                    <a:pt x="273" y="82"/>
                    <a:pt x="273" y="82"/>
                  </a:cubicBezTo>
                  <a:cubicBezTo>
                    <a:pt x="335" y="92"/>
                    <a:pt x="335" y="92"/>
                    <a:pt x="335" y="92"/>
                  </a:cubicBezTo>
                  <a:cubicBezTo>
                    <a:pt x="341" y="93"/>
                    <a:pt x="345" y="98"/>
                    <a:pt x="345" y="104"/>
                  </a:cubicBezTo>
                  <a:lnTo>
                    <a:pt x="34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4" name="Straight Connector 3"/>
          <p:cNvCxnSpPr/>
          <p:nvPr/>
        </p:nvCxnSpPr>
        <p:spPr>
          <a:xfrm>
            <a:off x="8415505" y="4978400"/>
            <a:ext cx="289194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8415505" y="5096343"/>
            <a:ext cx="2891947" cy="646331"/>
          </a:xfrm>
          <a:prstGeom prst="rect">
            <a:avLst/>
          </a:prstGeom>
        </p:spPr>
        <p:txBody>
          <a:bodyPr wrap="square" anchor="ctr">
            <a:spAutoFit/>
          </a:bodyPr>
          <a:lstStyle/>
          <a:p>
            <a:pPr>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p>
        </p:txBody>
      </p:sp>
    </p:spTree>
    <p:extLst>
      <p:ext uri="{BB962C8B-B14F-4D97-AF65-F5344CB8AC3E}">
        <p14:creationId xmlns:p14="http://schemas.microsoft.com/office/powerpoint/2010/main" val="277741260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823E6CAC-0CE9-45BF-ABFD-E3635AADF41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7651" b="27651"/>
          <a:stretch>
            <a:fillRect/>
          </a:stretch>
        </p:blipFill>
        <p:spPr/>
      </p:pic>
      <p:sp>
        <p:nvSpPr>
          <p:cNvPr id="4" name="Rectangle 3"/>
          <p:cNvSpPr/>
          <p:nvPr/>
        </p:nvSpPr>
        <p:spPr>
          <a:xfrm>
            <a:off x="646633" y="3036711"/>
            <a:ext cx="3556755" cy="3368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a:xfrm>
            <a:off x="8610600" y="6356350"/>
            <a:ext cx="2743200" cy="365125"/>
          </a:xfrm>
        </p:spPr>
        <p:txBody>
          <a:bodyPr/>
          <a:lstStyle/>
          <a:p>
            <a:fld id="{32ECD629-4DA5-4EAE-B174-69948CAAE2CE}" type="slidenum">
              <a:rPr lang="en-US" smtClean="0"/>
              <a:pPr/>
              <a:t>4</a:t>
            </a:fld>
            <a:endParaRPr lang="en-US" dirty="0"/>
          </a:p>
        </p:txBody>
      </p:sp>
      <p:grpSp>
        <p:nvGrpSpPr>
          <p:cNvPr id="3" name="Group 2"/>
          <p:cNvGrpSpPr/>
          <p:nvPr/>
        </p:nvGrpSpPr>
        <p:grpSpPr>
          <a:xfrm>
            <a:off x="687177" y="3119626"/>
            <a:ext cx="3475667" cy="3110220"/>
            <a:chOff x="675420" y="2946452"/>
            <a:chExt cx="3475666" cy="3110221"/>
          </a:xfrm>
          <a:noFill/>
        </p:grpSpPr>
        <p:sp>
          <p:nvSpPr>
            <p:cNvPr id="9" name="Rectangle 8"/>
            <p:cNvSpPr/>
            <p:nvPr/>
          </p:nvSpPr>
          <p:spPr>
            <a:xfrm>
              <a:off x="675420" y="2946452"/>
              <a:ext cx="3475666" cy="716835"/>
            </a:xfrm>
            <a:prstGeom prst="rect">
              <a:avLst/>
            </a:prstGeom>
            <a:grpFill/>
          </p:spPr>
          <p:txBody>
            <a:bodyPr vert="horz" wrap="square" lIns="91440" tIns="45720" rIns="91440" bIns="45720" rtlCol="0" anchor="ctr">
              <a:noAutofit/>
            </a:bodyPr>
            <a:lstStyle/>
            <a:p>
              <a:pPr algn="ctr">
                <a:lnSpc>
                  <a:spcPct val="90000"/>
                </a:lnSpc>
                <a:spcBef>
                  <a:spcPct val="0"/>
                </a:spcBef>
              </a:pPr>
              <a:r>
                <a:rPr lang="en-US" sz="4000" b="1" spc="-151" noProof="1">
                  <a:solidFill>
                    <a:schemeClr val="tx1">
                      <a:lumMod val="90000"/>
                      <a:lumOff val="10000"/>
                    </a:schemeClr>
                  </a:solidFill>
                  <a:latin typeface="Arial" panose="020B0604020202020204" pitchFamily="34" charset="0"/>
                  <a:ea typeface="Roboto Light" panose="02000000000000000000" pitchFamily="2" charset="0"/>
                  <a:cs typeface="Open Sans Light" panose="020B0306030504020204" pitchFamily="34" charset="0"/>
                </a:rPr>
                <a:t>What We Do</a:t>
              </a:r>
            </a:p>
          </p:txBody>
        </p:sp>
        <p:sp>
          <p:nvSpPr>
            <p:cNvPr id="10" name="Rectangle 9"/>
            <p:cNvSpPr/>
            <p:nvPr/>
          </p:nvSpPr>
          <p:spPr>
            <a:xfrm>
              <a:off x="675420" y="3933014"/>
              <a:ext cx="3475666" cy="2123659"/>
            </a:xfrm>
            <a:prstGeom prst="rect">
              <a:avLst/>
            </a:prstGeom>
            <a:grpFill/>
          </p:spPr>
          <p:txBody>
            <a:bodyPr wrap="square">
              <a:spAutoFit/>
            </a:bodyPr>
            <a:lstStyle/>
            <a:p>
              <a:pPr algn="just">
                <a:buClr>
                  <a:srgbClr val="E24848"/>
                </a:buClr>
                <a:defRPr/>
              </a:pPr>
              <a:r>
                <a:rPr lang="en-US" sz="1200" noProof="1">
                  <a:solidFill>
                    <a:schemeClr val="tx1">
                      <a:lumMod val="75000"/>
                      <a:lumOff val="25000"/>
                    </a:schemeClr>
                  </a:solidFill>
                  <a:latin typeface="+mj-lt"/>
                  <a:ea typeface="Roboto Light" panose="02000000000000000000" pitchFamily="2" charset="0"/>
                  <a:cs typeface="Arial"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Nunc elementum fringilla nisl, a ornare arcu condimentum a. Nulla euismod congue arcu quis feugiat. Phasellus porttitor felis mauris, sed suscipit quam egestas nec. Suspendisse sapien quam, cursus et tincidunt quis, ultricies sit amet. third-party research, surveys and studies generally.</a:t>
              </a:r>
            </a:p>
          </p:txBody>
        </p:sp>
        <p:sp>
          <p:nvSpPr>
            <p:cNvPr id="6" name="Title 11"/>
            <p:cNvSpPr txBox="1">
              <a:spLocks/>
            </p:cNvSpPr>
            <p:nvPr/>
          </p:nvSpPr>
          <p:spPr>
            <a:xfrm>
              <a:off x="675420" y="3557274"/>
              <a:ext cx="3475666" cy="375740"/>
            </a:xfrm>
            <a:prstGeom prst="rect">
              <a:avLst/>
            </a:prstGeom>
            <a:grpFill/>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40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rPr>
                <a:t>Insert Your Creative Idea </a:t>
              </a:r>
            </a:p>
          </p:txBody>
        </p:sp>
      </p:grpSp>
      <p:sp>
        <p:nvSpPr>
          <p:cNvPr id="23" name="Oval 22"/>
          <p:cNvSpPr/>
          <p:nvPr/>
        </p:nvSpPr>
        <p:spPr>
          <a:xfrm>
            <a:off x="4957227" y="3127465"/>
            <a:ext cx="956171" cy="9561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4" name="Text Placeholder 2"/>
          <p:cNvSpPr txBox="1">
            <a:spLocks/>
          </p:cNvSpPr>
          <p:nvPr/>
        </p:nvSpPr>
        <p:spPr>
          <a:xfrm>
            <a:off x="4913199" y="4532087"/>
            <a:ext cx="2059101" cy="108757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id-ID" sz="1200" dirty="0">
                <a:solidFill>
                  <a:schemeClr val="tx1">
                    <a:lumMod val="75000"/>
                    <a:lumOff val="25000"/>
                  </a:schemeClr>
                </a:solidFill>
                <a:latin typeface="+mj-lt"/>
              </a:rPr>
              <a:t>Join with us and we’ll make the world in our hand. </a:t>
            </a:r>
            <a:r>
              <a:rPr lang="en-US" sz="1200" dirty="0">
                <a:solidFill>
                  <a:schemeClr val="tx1">
                    <a:lumMod val="75000"/>
                    <a:lumOff val="25000"/>
                  </a:schemeClr>
                </a:solidFill>
                <a:latin typeface="+mj-lt"/>
              </a:rPr>
              <a:t>It’s using to make your look good and awesome in your audiences view. </a:t>
            </a:r>
          </a:p>
        </p:txBody>
      </p:sp>
      <p:sp>
        <p:nvSpPr>
          <p:cNvPr id="25" name="Rectangle 24"/>
          <p:cNvSpPr/>
          <p:nvPr/>
        </p:nvSpPr>
        <p:spPr>
          <a:xfrm>
            <a:off x="4913200" y="4236979"/>
            <a:ext cx="1800181" cy="338554"/>
          </a:xfrm>
          <a:prstGeom prst="rect">
            <a:avLst/>
          </a:prstGeom>
        </p:spPr>
        <p:txBody>
          <a:bodyPr wrap="square">
            <a:spAutoFit/>
          </a:bodyPr>
          <a:lstStyle/>
          <a:p>
            <a:r>
              <a:rPr lang="id-ID" sz="16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SUBTITLE HERE</a:t>
            </a:r>
          </a:p>
        </p:txBody>
      </p:sp>
      <p:sp>
        <p:nvSpPr>
          <p:cNvPr id="44" name="Oval 43"/>
          <p:cNvSpPr/>
          <p:nvPr/>
        </p:nvSpPr>
        <p:spPr>
          <a:xfrm>
            <a:off x="7319427" y="3127465"/>
            <a:ext cx="956171" cy="9561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45" name="Text Placeholder 2"/>
          <p:cNvSpPr txBox="1">
            <a:spLocks/>
          </p:cNvSpPr>
          <p:nvPr/>
        </p:nvSpPr>
        <p:spPr>
          <a:xfrm>
            <a:off x="7275399" y="4532087"/>
            <a:ext cx="2059101" cy="108757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id-ID" sz="1200" dirty="0">
                <a:solidFill>
                  <a:schemeClr val="tx1">
                    <a:lumMod val="75000"/>
                    <a:lumOff val="25000"/>
                  </a:schemeClr>
                </a:solidFill>
                <a:latin typeface="+mj-lt"/>
              </a:rPr>
              <a:t>Join with us and we’ll make the world in our hand. </a:t>
            </a:r>
            <a:r>
              <a:rPr lang="en-US" sz="1200" dirty="0">
                <a:solidFill>
                  <a:schemeClr val="tx1">
                    <a:lumMod val="75000"/>
                    <a:lumOff val="25000"/>
                  </a:schemeClr>
                </a:solidFill>
                <a:latin typeface="+mj-lt"/>
              </a:rPr>
              <a:t>It’s using to make your look good and awesome in your audiences view. </a:t>
            </a:r>
          </a:p>
        </p:txBody>
      </p:sp>
      <p:sp>
        <p:nvSpPr>
          <p:cNvPr id="46" name="Rectangle 45"/>
          <p:cNvSpPr/>
          <p:nvPr/>
        </p:nvSpPr>
        <p:spPr>
          <a:xfrm>
            <a:off x="7275400" y="4236979"/>
            <a:ext cx="1800181" cy="338554"/>
          </a:xfrm>
          <a:prstGeom prst="rect">
            <a:avLst/>
          </a:prstGeom>
        </p:spPr>
        <p:txBody>
          <a:bodyPr wrap="square">
            <a:spAutoFit/>
          </a:bodyPr>
          <a:lstStyle/>
          <a:p>
            <a:r>
              <a:rPr lang="id-ID" sz="16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SUBTITLE HERE</a:t>
            </a:r>
          </a:p>
        </p:txBody>
      </p:sp>
      <p:sp>
        <p:nvSpPr>
          <p:cNvPr id="53" name="Oval 52"/>
          <p:cNvSpPr/>
          <p:nvPr/>
        </p:nvSpPr>
        <p:spPr>
          <a:xfrm>
            <a:off x="9681627" y="3127465"/>
            <a:ext cx="956171" cy="9561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54" name="Text Placeholder 2"/>
          <p:cNvSpPr txBox="1">
            <a:spLocks/>
          </p:cNvSpPr>
          <p:nvPr/>
        </p:nvSpPr>
        <p:spPr>
          <a:xfrm>
            <a:off x="9637599" y="4532087"/>
            <a:ext cx="2059101" cy="108757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Source Sans Pro Light" panose="020B0403030403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id-ID" sz="1200" dirty="0">
                <a:solidFill>
                  <a:schemeClr val="tx1">
                    <a:lumMod val="75000"/>
                    <a:lumOff val="25000"/>
                  </a:schemeClr>
                </a:solidFill>
                <a:latin typeface="+mj-lt"/>
              </a:rPr>
              <a:t>Join with us and we’ll make the world in our hand. </a:t>
            </a:r>
            <a:r>
              <a:rPr lang="en-US" sz="1200" dirty="0">
                <a:solidFill>
                  <a:schemeClr val="tx1">
                    <a:lumMod val="75000"/>
                    <a:lumOff val="25000"/>
                  </a:schemeClr>
                </a:solidFill>
                <a:latin typeface="+mj-lt"/>
              </a:rPr>
              <a:t>It’s using to make your look good and awesome in your audiences view. </a:t>
            </a:r>
          </a:p>
        </p:txBody>
      </p:sp>
      <p:sp>
        <p:nvSpPr>
          <p:cNvPr id="55" name="Rectangle 54"/>
          <p:cNvSpPr/>
          <p:nvPr/>
        </p:nvSpPr>
        <p:spPr>
          <a:xfrm>
            <a:off x="9637600" y="4236979"/>
            <a:ext cx="1800181" cy="338554"/>
          </a:xfrm>
          <a:prstGeom prst="rect">
            <a:avLst/>
          </a:prstGeom>
        </p:spPr>
        <p:txBody>
          <a:bodyPr wrap="square">
            <a:spAutoFit/>
          </a:bodyPr>
          <a:lstStyle/>
          <a:p>
            <a:r>
              <a:rPr lang="id-ID" sz="16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SUBTITLE HERE</a:t>
            </a:r>
          </a:p>
        </p:txBody>
      </p:sp>
      <p:sp>
        <p:nvSpPr>
          <p:cNvPr id="26" name="Freeform 60"/>
          <p:cNvSpPr>
            <a:spLocks noEditPoints="1"/>
          </p:cNvSpPr>
          <p:nvPr/>
        </p:nvSpPr>
        <p:spPr bwMode="auto">
          <a:xfrm>
            <a:off x="9895825" y="3357829"/>
            <a:ext cx="457200" cy="457200"/>
          </a:xfrm>
          <a:custGeom>
            <a:avLst/>
            <a:gdLst>
              <a:gd name="T0" fmla="*/ 600 w 1152"/>
              <a:gd name="T1" fmla="*/ 944 h 1153"/>
              <a:gd name="T2" fmla="*/ 578 w 1152"/>
              <a:gd name="T3" fmla="*/ 940 h 1153"/>
              <a:gd name="T4" fmla="*/ 908 w 1152"/>
              <a:gd name="T5" fmla="*/ 1066 h 1153"/>
              <a:gd name="T6" fmla="*/ 367 w 1152"/>
              <a:gd name="T7" fmla="*/ 868 h 1153"/>
              <a:gd name="T8" fmla="*/ 1049 w 1152"/>
              <a:gd name="T9" fmla="*/ 137 h 1153"/>
              <a:gd name="T10" fmla="*/ 367 w 1152"/>
              <a:gd name="T11" fmla="*/ 868 h 1153"/>
              <a:gd name="T12" fmla="*/ 947 w 1152"/>
              <a:gd name="T13" fmla="*/ 193 h 1153"/>
              <a:gd name="T14" fmla="*/ 336 w 1152"/>
              <a:gd name="T15" fmla="*/ 838 h 1153"/>
              <a:gd name="T16" fmla="*/ 113 w 1152"/>
              <a:gd name="T17" fmla="*/ 749 h 1153"/>
              <a:gd name="T18" fmla="*/ 1131 w 1152"/>
              <a:gd name="T19" fmla="*/ 4 h 1153"/>
              <a:gd name="T20" fmla="*/ 1121 w 1152"/>
              <a:gd name="T21" fmla="*/ 1 h 1153"/>
              <a:gd name="T22" fmla="*/ 1110 w 1152"/>
              <a:gd name="T23" fmla="*/ 1 h 1153"/>
              <a:gd name="T24" fmla="*/ 1101 w 1152"/>
              <a:gd name="T25" fmla="*/ 5 h 1153"/>
              <a:gd name="T26" fmla="*/ 16 w 1152"/>
              <a:gd name="T27" fmla="*/ 727 h 1153"/>
              <a:gd name="T28" fmla="*/ 9 w 1152"/>
              <a:gd name="T29" fmla="*/ 734 h 1153"/>
              <a:gd name="T30" fmla="*/ 3 w 1152"/>
              <a:gd name="T31" fmla="*/ 741 h 1153"/>
              <a:gd name="T32" fmla="*/ 0 w 1152"/>
              <a:gd name="T33" fmla="*/ 751 h 1153"/>
              <a:gd name="T34" fmla="*/ 0 w 1152"/>
              <a:gd name="T35" fmla="*/ 761 h 1153"/>
              <a:gd name="T36" fmla="*/ 2 w 1152"/>
              <a:gd name="T37" fmla="*/ 770 h 1153"/>
              <a:gd name="T38" fmla="*/ 8 w 1152"/>
              <a:gd name="T39" fmla="*/ 779 h 1153"/>
              <a:gd name="T40" fmla="*/ 14 w 1152"/>
              <a:gd name="T41" fmla="*/ 785 h 1153"/>
              <a:gd name="T42" fmla="*/ 23 w 1152"/>
              <a:gd name="T43" fmla="*/ 790 h 1153"/>
              <a:gd name="T44" fmla="*/ 436 w 1152"/>
              <a:gd name="T45" fmla="*/ 1134 h 1153"/>
              <a:gd name="T46" fmla="*/ 443 w 1152"/>
              <a:gd name="T47" fmla="*/ 1142 h 1153"/>
              <a:gd name="T48" fmla="*/ 449 w 1152"/>
              <a:gd name="T49" fmla="*/ 1148 h 1153"/>
              <a:gd name="T50" fmla="*/ 458 w 1152"/>
              <a:gd name="T51" fmla="*/ 1152 h 1153"/>
              <a:gd name="T52" fmla="*/ 468 w 1152"/>
              <a:gd name="T53" fmla="*/ 1153 h 1153"/>
              <a:gd name="T54" fmla="*/ 473 w 1152"/>
              <a:gd name="T55" fmla="*/ 1153 h 1153"/>
              <a:gd name="T56" fmla="*/ 482 w 1152"/>
              <a:gd name="T57" fmla="*/ 1150 h 1153"/>
              <a:gd name="T58" fmla="*/ 489 w 1152"/>
              <a:gd name="T59" fmla="*/ 1145 h 1153"/>
              <a:gd name="T60" fmla="*/ 496 w 1152"/>
              <a:gd name="T61" fmla="*/ 1139 h 1153"/>
              <a:gd name="T62" fmla="*/ 573 w 1152"/>
              <a:gd name="T63" fmla="*/ 1010 h 1153"/>
              <a:gd name="T64" fmla="*/ 929 w 1152"/>
              <a:gd name="T65" fmla="*/ 1153 h 1153"/>
              <a:gd name="T66" fmla="*/ 941 w 1152"/>
              <a:gd name="T67" fmla="*/ 1153 h 1153"/>
              <a:gd name="T68" fmla="*/ 949 w 1152"/>
              <a:gd name="T69" fmla="*/ 1150 h 1153"/>
              <a:gd name="T70" fmla="*/ 960 w 1152"/>
              <a:gd name="T71" fmla="*/ 1143 h 1153"/>
              <a:gd name="T72" fmla="*/ 969 w 1152"/>
              <a:gd name="T73" fmla="*/ 1130 h 1153"/>
              <a:gd name="T74" fmla="*/ 1151 w 1152"/>
              <a:gd name="T75" fmla="*/ 42 h 1153"/>
              <a:gd name="T76" fmla="*/ 1151 w 1152"/>
              <a:gd name="T77" fmla="*/ 33 h 1153"/>
              <a:gd name="T78" fmla="*/ 1149 w 1152"/>
              <a:gd name="T79" fmla="*/ 22 h 1153"/>
              <a:gd name="T80" fmla="*/ 1144 w 1152"/>
              <a:gd name="T81" fmla="*/ 13 h 1153"/>
              <a:gd name="T82" fmla="*/ 1135 w 1152"/>
              <a:gd name="T83" fmla="*/ 7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2" h="1153">
                <a:moveTo>
                  <a:pt x="908" y="1066"/>
                </a:moveTo>
                <a:lnTo>
                  <a:pt x="600" y="944"/>
                </a:lnTo>
                <a:lnTo>
                  <a:pt x="590" y="941"/>
                </a:lnTo>
                <a:lnTo>
                  <a:pt x="578" y="940"/>
                </a:lnTo>
                <a:lnTo>
                  <a:pt x="1051" y="205"/>
                </a:lnTo>
                <a:lnTo>
                  <a:pt x="908" y="1066"/>
                </a:lnTo>
                <a:close/>
                <a:moveTo>
                  <a:pt x="367" y="868"/>
                </a:moveTo>
                <a:lnTo>
                  <a:pt x="367" y="868"/>
                </a:lnTo>
                <a:lnTo>
                  <a:pt x="366" y="866"/>
                </a:lnTo>
                <a:lnTo>
                  <a:pt x="1049" y="137"/>
                </a:lnTo>
                <a:lnTo>
                  <a:pt x="468" y="1042"/>
                </a:lnTo>
                <a:lnTo>
                  <a:pt x="367" y="868"/>
                </a:lnTo>
                <a:close/>
                <a:moveTo>
                  <a:pt x="113" y="749"/>
                </a:moveTo>
                <a:lnTo>
                  <a:pt x="947" y="193"/>
                </a:lnTo>
                <a:lnTo>
                  <a:pt x="340" y="842"/>
                </a:lnTo>
                <a:lnTo>
                  <a:pt x="336" y="838"/>
                </a:lnTo>
                <a:lnTo>
                  <a:pt x="332" y="836"/>
                </a:lnTo>
                <a:lnTo>
                  <a:pt x="113" y="749"/>
                </a:lnTo>
                <a:close/>
                <a:moveTo>
                  <a:pt x="1135" y="7"/>
                </a:moveTo>
                <a:lnTo>
                  <a:pt x="1131" y="4"/>
                </a:lnTo>
                <a:lnTo>
                  <a:pt x="1126" y="2"/>
                </a:lnTo>
                <a:lnTo>
                  <a:pt x="1121" y="1"/>
                </a:lnTo>
                <a:lnTo>
                  <a:pt x="1116" y="0"/>
                </a:lnTo>
                <a:lnTo>
                  <a:pt x="1110" y="1"/>
                </a:lnTo>
                <a:lnTo>
                  <a:pt x="1106" y="2"/>
                </a:lnTo>
                <a:lnTo>
                  <a:pt x="1101" y="5"/>
                </a:lnTo>
                <a:lnTo>
                  <a:pt x="1096" y="7"/>
                </a:lnTo>
                <a:lnTo>
                  <a:pt x="16" y="727"/>
                </a:lnTo>
                <a:lnTo>
                  <a:pt x="12" y="730"/>
                </a:lnTo>
                <a:lnTo>
                  <a:pt x="9" y="734"/>
                </a:lnTo>
                <a:lnTo>
                  <a:pt x="5" y="737"/>
                </a:lnTo>
                <a:lnTo>
                  <a:pt x="3" y="741"/>
                </a:lnTo>
                <a:lnTo>
                  <a:pt x="2" y="745"/>
                </a:lnTo>
                <a:lnTo>
                  <a:pt x="0" y="751"/>
                </a:lnTo>
                <a:lnTo>
                  <a:pt x="0" y="755"/>
                </a:lnTo>
                <a:lnTo>
                  <a:pt x="0" y="761"/>
                </a:lnTo>
                <a:lnTo>
                  <a:pt x="1" y="765"/>
                </a:lnTo>
                <a:lnTo>
                  <a:pt x="2" y="770"/>
                </a:lnTo>
                <a:lnTo>
                  <a:pt x="4" y="775"/>
                </a:lnTo>
                <a:lnTo>
                  <a:pt x="8" y="779"/>
                </a:lnTo>
                <a:lnTo>
                  <a:pt x="11" y="782"/>
                </a:lnTo>
                <a:lnTo>
                  <a:pt x="14" y="785"/>
                </a:lnTo>
                <a:lnTo>
                  <a:pt x="18" y="788"/>
                </a:lnTo>
                <a:lnTo>
                  <a:pt x="23" y="790"/>
                </a:lnTo>
                <a:lnTo>
                  <a:pt x="305" y="903"/>
                </a:lnTo>
                <a:lnTo>
                  <a:pt x="436" y="1134"/>
                </a:lnTo>
                <a:lnTo>
                  <a:pt x="440" y="1139"/>
                </a:lnTo>
                <a:lnTo>
                  <a:pt x="443" y="1142"/>
                </a:lnTo>
                <a:lnTo>
                  <a:pt x="446" y="1145"/>
                </a:lnTo>
                <a:lnTo>
                  <a:pt x="449" y="1148"/>
                </a:lnTo>
                <a:lnTo>
                  <a:pt x="454" y="1149"/>
                </a:lnTo>
                <a:lnTo>
                  <a:pt x="458" y="1152"/>
                </a:lnTo>
                <a:lnTo>
                  <a:pt x="463" y="1153"/>
                </a:lnTo>
                <a:lnTo>
                  <a:pt x="468" y="1153"/>
                </a:lnTo>
                <a:lnTo>
                  <a:pt x="468" y="1153"/>
                </a:lnTo>
                <a:lnTo>
                  <a:pt x="473" y="1153"/>
                </a:lnTo>
                <a:lnTo>
                  <a:pt x="477" y="1152"/>
                </a:lnTo>
                <a:lnTo>
                  <a:pt x="482" y="1150"/>
                </a:lnTo>
                <a:lnTo>
                  <a:pt x="486" y="1148"/>
                </a:lnTo>
                <a:lnTo>
                  <a:pt x="489" y="1145"/>
                </a:lnTo>
                <a:lnTo>
                  <a:pt x="494" y="1143"/>
                </a:lnTo>
                <a:lnTo>
                  <a:pt x="496" y="1139"/>
                </a:lnTo>
                <a:lnTo>
                  <a:pt x="499" y="1135"/>
                </a:lnTo>
                <a:lnTo>
                  <a:pt x="573" y="1010"/>
                </a:lnTo>
                <a:lnTo>
                  <a:pt x="922" y="1150"/>
                </a:lnTo>
                <a:lnTo>
                  <a:pt x="929" y="1153"/>
                </a:lnTo>
                <a:lnTo>
                  <a:pt x="936" y="1153"/>
                </a:lnTo>
                <a:lnTo>
                  <a:pt x="941" y="1153"/>
                </a:lnTo>
                <a:lnTo>
                  <a:pt x="945" y="1152"/>
                </a:lnTo>
                <a:lnTo>
                  <a:pt x="949" y="1150"/>
                </a:lnTo>
                <a:lnTo>
                  <a:pt x="954" y="1148"/>
                </a:lnTo>
                <a:lnTo>
                  <a:pt x="960" y="1143"/>
                </a:lnTo>
                <a:lnTo>
                  <a:pt x="966" y="1138"/>
                </a:lnTo>
                <a:lnTo>
                  <a:pt x="969" y="1130"/>
                </a:lnTo>
                <a:lnTo>
                  <a:pt x="972" y="1122"/>
                </a:lnTo>
                <a:lnTo>
                  <a:pt x="1151" y="42"/>
                </a:lnTo>
                <a:lnTo>
                  <a:pt x="1152" y="37"/>
                </a:lnTo>
                <a:lnTo>
                  <a:pt x="1151" y="33"/>
                </a:lnTo>
                <a:lnTo>
                  <a:pt x="1150" y="27"/>
                </a:lnTo>
                <a:lnTo>
                  <a:pt x="1149" y="22"/>
                </a:lnTo>
                <a:lnTo>
                  <a:pt x="1147" y="18"/>
                </a:lnTo>
                <a:lnTo>
                  <a:pt x="1144" y="13"/>
                </a:lnTo>
                <a:lnTo>
                  <a:pt x="1139" y="10"/>
                </a:lnTo>
                <a:lnTo>
                  <a:pt x="1135" y="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7581363" y="3379260"/>
            <a:ext cx="457200" cy="457200"/>
            <a:chOff x="4563268" y="2753915"/>
            <a:chExt cx="457200" cy="457200"/>
          </a:xfrm>
          <a:solidFill>
            <a:schemeClr val="bg1"/>
          </a:solidFill>
        </p:grpSpPr>
        <p:sp>
          <p:nvSpPr>
            <p:cNvPr id="28" name="Freeform 124"/>
            <p:cNvSpPr>
              <a:spLocks noEditPoints="1"/>
            </p:cNvSpPr>
            <p:nvPr/>
          </p:nvSpPr>
          <p:spPr bwMode="auto">
            <a:xfrm>
              <a:off x="4563268" y="2753915"/>
              <a:ext cx="457200" cy="457200"/>
            </a:xfrm>
            <a:custGeom>
              <a:avLst/>
              <a:gdLst>
                <a:gd name="T0" fmla="*/ 924 w 1152"/>
                <a:gd name="T1" fmla="*/ 677 h 1152"/>
                <a:gd name="T2" fmla="*/ 896 w 1152"/>
                <a:gd name="T3" fmla="*/ 742 h 1152"/>
                <a:gd name="T4" fmla="*/ 905 w 1152"/>
                <a:gd name="T5" fmla="*/ 804 h 1152"/>
                <a:gd name="T6" fmla="*/ 765 w 1152"/>
                <a:gd name="T7" fmla="*/ 893 h 1152"/>
                <a:gd name="T8" fmla="*/ 704 w 1152"/>
                <a:gd name="T9" fmla="*/ 912 h 1152"/>
                <a:gd name="T10" fmla="*/ 653 w 1152"/>
                <a:gd name="T11" fmla="*/ 952 h 1152"/>
                <a:gd name="T12" fmla="*/ 499 w 1152"/>
                <a:gd name="T13" fmla="*/ 952 h 1152"/>
                <a:gd name="T14" fmla="*/ 448 w 1152"/>
                <a:gd name="T15" fmla="*/ 912 h 1152"/>
                <a:gd name="T16" fmla="*/ 388 w 1152"/>
                <a:gd name="T17" fmla="*/ 893 h 1152"/>
                <a:gd name="T18" fmla="*/ 247 w 1152"/>
                <a:gd name="T19" fmla="*/ 804 h 1152"/>
                <a:gd name="T20" fmla="*/ 256 w 1152"/>
                <a:gd name="T21" fmla="*/ 742 h 1152"/>
                <a:gd name="T22" fmla="*/ 228 w 1152"/>
                <a:gd name="T23" fmla="*/ 677 h 1152"/>
                <a:gd name="T24" fmla="*/ 72 w 1152"/>
                <a:gd name="T25" fmla="*/ 625 h 1152"/>
                <a:gd name="T26" fmla="*/ 222 w 1152"/>
                <a:gd name="T27" fmla="*/ 482 h 1152"/>
                <a:gd name="T28" fmla="*/ 253 w 1152"/>
                <a:gd name="T29" fmla="*/ 420 h 1152"/>
                <a:gd name="T30" fmla="*/ 253 w 1152"/>
                <a:gd name="T31" fmla="*/ 356 h 1152"/>
                <a:gd name="T32" fmla="*/ 378 w 1152"/>
                <a:gd name="T33" fmla="*/ 259 h 1152"/>
                <a:gd name="T34" fmla="*/ 438 w 1152"/>
                <a:gd name="T35" fmla="*/ 244 h 1152"/>
                <a:gd name="T36" fmla="*/ 495 w 1152"/>
                <a:gd name="T37" fmla="*/ 208 h 1152"/>
                <a:gd name="T38" fmla="*/ 649 w 1152"/>
                <a:gd name="T39" fmla="*/ 192 h 1152"/>
                <a:gd name="T40" fmla="*/ 694 w 1152"/>
                <a:gd name="T41" fmla="*/ 236 h 1152"/>
                <a:gd name="T42" fmla="*/ 756 w 1152"/>
                <a:gd name="T43" fmla="*/ 259 h 1152"/>
                <a:gd name="T44" fmla="*/ 967 w 1152"/>
                <a:gd name="T45" fmla="*/ 255 h 1152"/>
                <a:gd name="T46" fmla="*/ 894 w 1152"/>
                <a:gd name="T47" fmla="*/ 401 h 1152"/>
                <a:gd name="T48" fmla="*/ 919 w 1152"/>
                <a:gd name="T49" fmla="*/ 466 h 1152"/>
                <a:gd name="T50" fmla="*/ 970 w 1152"/>
                <a:gd name="T51" fmla="*/ 505 h 1152"/>
                <a:gd name="T52" fmla="*/ 975 w 1152"/>
                <a:gd name="T53" fmla="*/ 411 h 1152"/>
                <a:gd name="T54" fmla="*/ 1037 w 1152"/>
                <a:gd name="T55" fmla="*/ 272 h 1152"/>
                <a:gd name="T56" fmla="*/ 1023 w 1152"/>
                <a:gd name="T57" fmla="*/ 208 h 1152"/>
                <a:gd name="T58" fmla="*/ 918 w 1152"/>
                <a:gd name="T59" fmla="*/ 116 h 1152"/>
                <a:gd name="T60" fmla="*/ 857 w 1152"/>
                <a:gd name="T61" fmla="*/ 125 h 1152"/>
                <a:gd name="T62" fmla="*/ 694 w 1152"/>
                <a:gd name="T63" fmla="*/ 51 h 1152"/>
                <a:gd name="T64" fmla="*/ 649 w 1152"/>
                <a:gd name="T65" fmla="*/ 4 h 1152"/>
                <a:gd name="T66" fmla="*/ 514 w 1152"/>
                <a:gd name="T67" fmla="*/ 1 h 1152"/>
                <a:gd name="T68" fmla="*/ 462 w 1152"/>
                <a:gd name="T69" fmla="*/ 40 h 1152"/>
                <a:gd name="T70" fmla="*/ 400 w 1152"/>
                <a:gd name="T71" fmla="*/ 182 h 1152"/>
                <a:gd name="T72" fmla="*/ 247 w 1152"/>
                <a:gd name="T73" fmla="*/ 113 h 1152"/>
                <a:gd name="T74" fmla="*/ 203 w 1152"/>
                <a:gd name="T75" fmla="*/ 134 h 1152"/>
                <a:gd name="T76" fmla="*/ 113 w 1152"/>
                <a:gd name="T77" fmla="*/ 247 h 1152"/>
                <a:gd name="T78" fmla="*/ 188 w 1152"/>
                <a:gd name="T79" fmla="*/ 387 h 1152"/>
                <a:gd name="T80" fmla="*/ 45 w 1152"/>
                <a:gd name="T81" fmla="*/ 460 h 1152"/>
                <a:gd name="T82" fmla="*/ 2 w 1152"/>
                <a:gd name="T83" fmla="*/ 508 h 1152"/>
                <a:gd name="T84" fmla="*/ 2 w 1152"/>
                <a:gd name="T85" fmla="*/ 643 h 1152"/>
                <a:gd name="T86" fmla="*/ 45 w 1152"/>
                <a:gd name="T87" fmla="*/ 692 h 1152"/>
                <a:gd name="T88" fmla="*/ 188 w 1152"/>
                <a:gd name="T89" fmla="*/ 764 h 1152"/>
                <a:gd name="T90" fmla="*/ 113 w 1152"/>
                <a:gd name="T91" fmla="*/ 905 h 1152"/>
                <a:gd name="T92" fmla="*/ 203 w 1152"/>
                <a:gd name="T93" fmla="*/ 1018 h 1152"/>
                <a:gd name="T94" fmla="*/ 247 w 1152"/>
                <a:gd name="T95" fmla="*/ 1039 h 1152"/>
                <a:gd name="T96" fmla="*/ 400 w 1152"/>
                <a:gd name="T97" fmla="*/ 969 h 1152"/>
                <a:gd name="T98" fmla="*/ 462 w 1152"/>
                <a:gd name="T99" fmla="*/ 1112 h 1152"/>
                <a:gd name="T100" fmla="*/ 514 w 1152"/>
                <a:gd name="T101" fmla="*/ 1151 h 1152"/>
                <a:gd name="T102" fmla="*/ 649 w 1152"/>
                <a:gd name="T103" fmla="*/ 1148 h 1152"/>
                <a:gd name="T104" fmla="*/ 694 w 1152"/>
                <a:gd name="T105" fmla="*/ 1100 h 1152"/>
                <a:gd name="T106" fmla="*/ 857 w 1152"/>
                <a:gd name="T107" fmla="*/ 1027 h 1152"/>
                <a:gd name="T108" fmla="*/ 918 w 1152"/>
                <a:gd name="T109" fmla="*/ 1036 h 1152"/>
                <a:gd name="T110" fmla="*/ 1023 w 1152"/>
                <a:gd name="T111" fmla="*/ 944 h 1152"/>
                <a:gd name="T112" fmla="*/ 1037 w 1152"/>
                <a:gd name="T113" fmla="*/ 881 h 1152"/>
                <a:gd name="T114" fmla="*/ 975 w 1152"/>
                <a:gd name="T115" fmla="*/ 742 h 1152"/>
                <a:gd name="T116" fmla="*/ 1118 w 1152"/>
                <a:gd name="T117" fmla="*/ 687 h 1152"/>
                <a:gd name="T118" fmla="*/ 1151 w 1152"/>
                <a:gd name="T119" fmla="*/ 631 h 1152"/>
                <a:gd name="T120" fmla="*/ 1143 w 1152"/>
                <a:gd name="T121" fmla="*/ 491 h 1152"/>
                <a:gd name="T122" fmla="*/ 1094 w 1152"/>
                <a:gd name="T123" fmla="*/ 456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2" h="1152">
                  <a:moveTo>
                    <a:pt x="970" y="647"/>
                  </a:moveTo>
                  <a:lnTo>
                    <a:pt x="960" y="650"/>
                  </a:lnTo>
                  <a:lnTo>
                    <a:pt x="951" y="653"/>
                  </a:lnTo>
                  <a:lnTo>
                    <a:pt x="944" y="657"/>
                  </a:lnTo>
                  <a:lnTo>
                    <a:pt x="936" y="664"/>
                  </a:lnTo>
                  <a:lnTo>
                    <a:pt x="930" y="670"/>
                  </a:lnTo>
                  <a:lnTo>
                    <a:pt x="924" y="677"/>
                  </a:lnTo>
                  <a:lnTo>
                    <a:pt x="919" y="685"/>
                  </a:lnTo>
                  <a:lnTo>
                    <a:pt x="916" y="694"/>
                  </a:lnTo>
                  <a:lnTo>
                    <a:pt x="913" y="704"/>
                  </a:lnTo>
                  <a:lnTo>
                    <a:pt x="908" y="714"/>
                  </a:lnTo>
                  <a:lnTo>
                    <a:pt x="904" y="723"/>
                  </a:lnTo>
                  <a:lnTo>
                    <a:pt x="900" y="733"/>
                  </a:lnTo>
                  <a:lnTo>
                    <a:pt x="896" y="742"/>
                  </a:lnTo>
                  <a:lnTo>
                    <a:pt x="894" y="750"/>
                  </a:lnTo>
                  <a:lnTo>
                    <a:pt x="893" y="760"/>
                  </a:lnTo>
                  <a:lnTo>
                    <a:pt x="893" y="769"/>
                  </a:lnTo>
                  <a:lnTo>
                    <a:pt x="894" y="778"/>
                  </a:lnTo>
                  <a:lnTo>
                    <a:pt x="896" y="787"/>
                  </a:lnTo>
                  <a:lnTo>
                    <a:pt x="900" y="796"/>
                  </a:lnTo>
                  <a:lnTo>
                    <a:pt x="905" y="804"/>
                  </a:lnTo>
                  <a:lnTo>
                    <a:pt x="967" y="898"/>
                  </a:lnTo>
                  <a:lnTo>
                    <a:pt x="897" y="967"/>
                  </a:lnTo>
                  <a:lnTo>
                    <a:pt x="805" y="905"/>
                  </a:lnTo>
                  <a:lnTo>
                    <a:pt x="795" y="899"/>
                  </a:lnTo>
                  <a:lnTo>
                    <a:pt x="785" y="895"/>
                  </a:lnTo>
                  <a:lnTo>
                    <a:pt x="774" y="893"/>
                  </a:lnTo>
                  <a:lnTo>
                    <a:pt x="765" y="893"/>
                  </a:lnTo>
                  <a:lnTo>
                    <a:pt x="756" y="893"/>
                  </a:lnTo>
                  <a:lnTo>
                    <a:pt x="748" y="894"/>
                  </a:lnTo>
                  <a:lnTo>
                    <a:pt x="741" y="896"/>
                  </a:lnTo>
                  <a:lnTo>
                    <a:pt x="733" y="899"/>
                  </a:lnTo>
                  <a:lnTo>
                    <a:pt x="724" y="904"/>
                  </a:lnTo>
                  <a:lnTo>
                    <a:pt x="714" y="908"/>
                  </a:lnTo>
                  <a:lnTo>
                    <a:pt x="704" y="912"/>
                  </a:lnTo>
                  <a:lnTo>
                    <a:pt x="694" y="915"/>
                  </a:lnTo>
                  <a:lnTo>
                    <a:pt x="686" y="920"/>
                  </a:lnTo>
                  <a:lnTo>
                    <a:pt x="677" y="924"/>
                  </a:lnTo>
                  <a:lnTo>
                    <a:pt x="670" y="930"/>
                  </a:lnTo>
                  <a:lnTo>
                    <a:pt x="663" y="936"/>
                  </a:lnTo>
                  <a:lnTo>
                    <a:pt x="658" y="944"/>
                  </a:lnTo>
                  <a:lnTo>
                    <a:pt x="653" y="952"/>
                  </a:lnTo>
                  <a:lnTo>
                    <a:pt x="650" y="961"/>
                  </a:lnTo>
                  <a:lnTo>
                    <a:pt x="647" y="969"/>
                  </a:lnTo>
                  <a:lnTo>
                    <a:pt x="625" y="1080"/>
                  </a:lnTo>
                  <a:lnTo>
                    <a:pt x="527" y="1080"/>
                  </a:lnTo>
                  <a:lnTo>
                    <a:pt x="505" y="969"/>
                  </a:lnTo>
                  <a:lnTo>
                    <a:pt x="502" y="961"/>
                  </a:lnTo>
                  <a:lnTo>
                    <a:pt x="499" y="952"/>
                  </a:lnTo>
                  <a:lnTo>
                    <a:pt x="495" y="944"/>
                  </a:lnTo>
                  <a:lnTo>
                    <a:pt x="489" y="936"/>
                  </a:lnTo>
                  <a:lnTo>
                    <a:pt x="483" y="930"/>
                  </a:lnTo>
                  <a:lnTo>
                    <a:pt x="475" y="924"/>
                  </a:lnTo>
                  <a:lnTo>
                    <a:pt x="466" y="920"/>
                  </a:lnTo>
                  <a:lnTo>
                    <a:pt x="458" y="915"/>
                  </a:lnTo>
                  <a:lnTo>
                    <a:pt x="448" y="912"/>
                  </a:lnTo>
                  <a:lnTo>
                    <a:pt x="438" y="908"/>
                  </a:lnTo>
                  <a:lnTo>
                    <a:pt x="429" y="904"/>
                  </a:lnTo>
                  <a:lnTo>
                    <a:pt x="419" y="899"/>
                  </a:lnTo>
                  <a:lnTo>
                    <a:pt x="411" y="896"/>
                  </a:lnTo>
                  <a:lnTo>
                    <a:pt x="404" y="894"/>
                  </a:lnTo>
                  <a:lnTo>
                    <a:pt x="396" y="893"/>
                  </a:lnTo>
                  <a:lnTo>
                    <a:pt x="388" y="893"/>
                  </a:lnTo>
                  <a:lnTo>
                    <a:pt x="378" y="893"/>
                  </a:lnTo>
                  <a:lnTo>
                    <a:pt x="367" y="895"/>
                  </a:lnTo>
                  <a:lnTo>
                    <a:pt x="357" y="899"/>
                  </a:lnTo>
                  <a:lnTo>
                    <a:pt x="348" y="905"/>
                  </a:lnTo>
                  <a:lnTo>
                    <a:pt x="255" y="967"/>
                  </a:lnTo>
                  <a:lnTo>
                    <a:pt x="185" y="898"/>
                  </a:lnTo>
                  <a:lnTo>
                    <a:pt x="247" y="804"/>
                  </a:lnTo>
                  <a:lnTo>
                    <a:pt x="253" y="796"/>
                  </a:lnTo>
                  <a:lnTo>
                    <a:pt x="256" y="787"/>
                  </a:lnTo>
                  <a:lnTo>
                    <a:pt x="258" y="778"/>
                  </a:lnTo>
                  <a:lnTo>
                    <a:pt x="259" y="769"/>
                  </a:lnTo>
                  <a:lnTo>
                    <a:pt x="259" y="760"/>
                  </a:lnTo>
                  <a:lnTo>
                    <a:pt x="258" y="750"/>
                  </a:lnTo>
                  <a:lnTo>
                    <a:pt x="256" y="742"/>
                  </a:lnTo>
                  <a:lnTo>
                    <a:pt x="253" y="733"/>
                  </a:lnTo>
                  <a:lnTo>
                    <a:pt x="248" y="723"/>
                  </a:lnTo>
                  <a:lnTo>
                    <a:pt x="244" y="714"/>
                  </a:lnTo>
                  <a:lnTo>
                    <a:pt x="240" y="704"/>
                  </a:lnTo>
                  <a:lnTo>
                    <a:pt x="236" y="694"/>
                  </a:lnTo>
                  <a:lnTo>
                    <a:pt x="232" y="685"/>
                  </a:lnTo>
                  <a:lnTo>
                    <a:pt x="228" y="677"/>
                  </a:lnTo>
                  <a:lnTo>
                    <a:pt x="222" y="670"/>
                  </a:lnTo>
                  <a:lnTo>
                    <a:pt x="216" y="664"/>
                  </a:lnTo>
                  <a:lnTo>
                    <a:pt x="208" y="657"/>
                  </a:lnTo>
                  <a:lnTo>
                    <a:pt x="200" y="653"/>
                  </a:lnTo>
                  <a:lnTo>
                    <a:pt x="191" y="650"/>
                  </a:lnTo>
                  <a:lnTo>
                    <a:pt x="182" y="647"/>
                  </a:lnTo>
                  <a:lnTo>
                    <a:pt x="72" y="625"/>
                  </a:lnTo>
                  <a:lnTo>
                    <a:pt x="72" y="527"/>
                  </a:lnTo>
                  <a:lnTo>
                    <a:pt x="182" y="505"/>
                  </a:lnTo>
                  <a:lnTo>
                    <a:pt x="191" y="503"/>
                  </a:lnTo>
                  <a:lnTo>
                    <a:pt x="200" y="499"/>
                  </a:lnTo>
                  <a:lnTo>
                    <a:pt x="208" y="494"/>
                  </a:lnTo>
                  <a:lnTo>
                    <a:pt x="216" y="489"/>
                  </a:lnTo>
                  <a:lnTo>
                    <a:pt x="222" y="482"/>
                  </a:lnTo>
                  <a:lnTo>
                    <a:pt x="228" y="475"/>
                  </a:lnTo>
                  <a:lnTo>
                    <a:pt x="232" y="466"/>
                  </a:lnTo>
                  <a:lnTo>
                    <a:pt x="236" y="458"/>
                  </a:lnTo>
                  <a:lnTo>
                    <a:pt x="240" y="448"/>
                  </a:lnTo>
                  <a:lnTo>
                    <a:pt x="244" y="438"/>
                  </a:lnTo>
                  <a:lnTo>
                    <a:pt x="248" y="428"/>
                  </a:lnTo>
                  <a:lnTo>
                    <a:pt x="253" y="420"/>
                  </a:lnTo>
                  <a:lnTo>
                    <a:pt x="256" y="410"/>
                  </a:lnTo>
                  <a:lnTo>
                    <a:pt x="258" y="401"/>
                  </a:lnTo>
                  <a:lnTo>
                    <a:pt x="259" y="392"/>
                  </a:lnTo>
                  <a:lnTo>
                    <a:pt x="259" y="383"/>
                  </a:lnTo>
                  <a:lnTo>
                    <a:pt x="258" y="373"/>
                  </a:lnTo>
                  <a:lnTo>
                    <a:pt x="256" y="365"/>
                  </a:lnTo>
                  <a:lnTo>
                    <a:pt x="253" y="356"/>
                  </a:lnTo>
                  <a:lnTo>
                    <a:pt x="247" y="347"/>
                  </a:lnTo>
                  <a:lnTo>
                    <a:pt x="185" y="255"/>
                  </a:lnTo>
                  <a:lnTo>
                    <a:pt x="255" y="185"/>
                  </a:lnTo>
                  <a:lnTo>
                    <a:pt x="348" y="247"/>
                  </a:lnTo>
                  <a:lnTo>
                    <a:pt x="357" y="252"/>
                  </a:lnTo>
                  <a:lnTo>
                    <a:pt x="367" y="257"/>
                  </a:lnTo>
                  <a:lnTo>
                    <a:pt x="378" y="259"/>
                  </a:lnTo>
                  <a:lnTo>
                    <a:pt x="388" y="260"/>
                  </a:lnTo>
                  <a:lnTo>
                    <a:pt x="396" y="259"/>
                  </a:lnTo>
                  <a:lnTo>
                    <a:pt x="404" y="258"/>
                  </a:lnTo>
                  <a:lnTo>
                    <a:pt x="411" y="256"/>
                  </a:lnTo>
                  <a:lnTo>
                    <a:pt x="419" y="252"/>
                  </a:lnTo>
                  <a:lnTo>
                    <a:pt x="429" y="248"/>
                  </a:lnTo>
                  <a:lnTo>
                    <a:pt x="438" y="244"/>
                  </a:lnTo>
                  <a:lnTo>
                    <a:pt x="448" y="239"/>
                  </a:lnTo>
                  <a:lnTo>
                    <a:pt x="458" y="236"/>
                  </a:lnTo>
                  <a:lnTo>
                    <a:pt x="466" y="233"/>
                  </a:lnTo>
                  <a:lnTo>
                    <a:pt x="475" y="228"/>
                  </a:lnTo>
                  <a:lnTo>
                    <a:pt x="482" y="222"/>
                  </a:lnTo>
                  <a:lnTo>
                    <a:pt x="489" y="216"/>
                  </a:lnTo>
                  <a:lnTo>
                    <a:pt x="495" y="208"/>
                  </a:lnTo>
                  <a:lnTo>
                    <a:pt x="499" y="201"/>
                  </a:lnTo>
                  <a:lnTo>
                    <a:pt x="502" y="192"/>
                  </a:lnTo>
                  <a:lnTo>
                    <a:pt x="505" y="182"/>
                  </a:lnTo>
                  <a:lnTo>
                    <a:pt x="527" y="72"/>
                  </a:lnTo>
                  <a:lnTo>
                    <a:pt x="625" y="72"/>
                  </a:lnTo>
                  <a:lnTo>
                    <a:pt x="647" y="182"/>
                  </a:lnTo>
                  <a:lnTo>
                    <a:pt x="649" y="192"/>
                  </a:lnTo>
                  <a:lnTo>
                    <a:pt x="653" y="201"/>
                  </a:lnTo>
                  <a:lnTo>
                    <a:pt x="658" y="208"/>
                  </a:lnTo>
                  <a:lnTo>
                    <a:pt x="663" y="216"/>
                  </a:lnTo>
                  <a:lnTo>
                    <a:pt x="670" y="222"/>
                  </a:lnTo>
                  <a:lnTo>
                    <a:pt x="677" y="228"/>
                  </a:lnTo>
                  <a:lnTo>
                    <a:pt x="686" y="233"/>
                  </a:lnTo>
                  <a:lnTo>
                    <a:pt x="694" y="236"/>
                  </a:lnTo>
                  <a:lnTo>
                    <a:pt x="704" y="239"/>
                  </a:lnTo>
                  <a:lnTo>
                    <a:pt x="714" y="244"/>
                  </a:lnTo>
                  <a:lnTo>
                    <a:pt x="724" y="248"/>
                  </a:lnTo>
                  <a:lnTo>
                    <a:pt x="732" y="252"/>
                  </a:lnTo>
                  <a:lnTo>
                    <a:pt x="741" y="256"/>
                  </a:lnTo>
                  <a:lnTo>
                    <a:pt x="748" y="258"/>
                  </a:lnTo>
                  <a:lnTo>
                    <a:pt x="756" y="259"/>
                  </a:lnTo>
                  <a:lnTo>
                    <a:pt x="765" y="260"/>
                  </a:lnTo>
                  <a:lnTo>
                    <a:pt x="774" y="259"/>
                  </a:lnTo>
                  <a:lnTo>
                    <a:pt x="785" y="257"/>
                  </a:lnTo>
                  <a:lnTo>
                    <a:pt x="795" y="252"/>
                  </a:lnTo>
                  <a:lnTo>
                    <a:pt x="805" y="247"/>
                  </a:lnTo>
                  <a:lnTo>
                    <a:pt x="897" y="185"/>
                  </a:lnTo>
                  <a:lnTo>
                    <a:pt x="967" y="255"/>
                  </a:lnTo>
                  <a:lnTo>
                    <a:pt x="905" y="347"/>
                  </a:lnTo>
                  <a:lnTo>
                    <a:pt x="900" y="356"/>
                  </a:lnTo>
                  <a:lnTo>
                    <a:pt x="896" y="365"/>
                  </a:lnTo>
                  <a:lnTo>
                    <a:pt x="894" y="373"/>
                  </a:lnTo>
                  <a:lnTo>
                    <a:pt x="893" y="383"/>
                  </a:lnTo>
                  <a:lnTo>
                    <a:pt x="893" y="392"/>
                  </a:lnTo>
                  <a:lnTo>
                    <a:pt x="894" y="401"/>
                  </a:lnTo>
                  <a:lnTo>
                    <a:pt x="896" y="410"/>
                  </a:lnTo>
                  <a:lnTo>
                    <a:pt x="900" y="419"/>
                  </a:lnTo>
                  <a:lnTo>
                    <a:pt x="904" y="428"/>
                  </a:lnTo>
                  <a:lnTo>
                    <a:pt x="908" y="438"/>
                  </a:lnTo>
                  <a:lnTo>
                    <a:pt x="913" y="448"/>
                  </a:lnTo>
                  <a:lnTo>
                    <a:pt x="916" y="458"/>
                  </a:lnTo>
                  <a:lnTo>
                    <a:pt x="919" y="466"/>
                  </a:lnTo>
                  <a:lnTo>
                    <a:pt x="924" y="475"/>
                  </a:lnTo>
                  <a:lnTo>
                    <a:pt x="930" y="482"/>
                  </a:lnTo>
                  <a:lnTo>
                    <a:pt x="936" y="489"/>
                  </a:lnTo>
                  <a:lnTo>
                    <a:pt x="944" y="494"/>
                  </a:lnTo>
                  <a:lnTo>
                    <a:pt x="951" y="499"/>
                  </a:lnTo>
                  <a:lnTo>
                    <a:pt x="960" y="503"/>
                  </a:lnTo>
                  <a:lnTo>
                    <a:pt x="970" y="505"/>
                  </a:lnTo>
                  <a:lnTo>
                    <a:pt x="1080" y="527"/>
                  </a:lnTo>
                  <a:lnTo>
                    <a:pt x="1080" y="625"/>
                  </a:lnTo>
                  <a:lnTo>
                    <a:pt x="970" y="647"/>
                  </a:lnTo>
                  <a:close/>
                  <a:moveTo>
                    <a:pt x="1094" y="456"/>
                  </a:moveTo>
                  <a:lnTo>
                    <a:pt x="984" y="434"/>
                  </a:lnTo>
                  <a:lnTo>
                    <a:pt x="979" y="422"/>
                  </a:lnTo>
                  <a:lnTo>
                    <a:pt x="975" y="411"/>
                  </a:lnTo>
                  <a:lnTo>
                    <a:pt x="970" y="399"/>
                  </a:lnTo>
                  <a:lnTo>
                    <a:pt x="964" y="387"/>
                  </a:lnTo>
                  <a:lnTo>
                    <a:pt x="1027" y="294"/>
                  </a:lnTo>
                  <a:lnTo>
                    <a:pt x="1030" y="289"/>
                  </a:lnTo>
                  <a:lnTo>
                    <a:pt x="1033" y="283"/>
                  </a:lnTo>
                  <a:lnTo>
                    <a:pt x="1036" y="277"/>
                  </a:lnTo>
                  <a:lnTo>
                    <a:pt x="1037" y="272"/>
                  </a:lnTo>
                  <a:lnTo>
                    <a:pt x="1039" y="259"/>
                  </a:lnTo>
                  <a:lnTo>
                    <a:pt x="1039" y="247"/>
                  </a:lnTo>
                  <a:lnTo>
                    <a:pt x="1037" y="235"/>
                  </a:lnTo>
                  <a:lnTo>
                    <a:pt x="1032" y="223"/>
                  </a:lnTo>
                  <a:lnTo>
                    <a:pt x="1029" y="218"/>
                  </a:lnTo>
                  <a:lnTo>
                    <a:pt x="1026" y="213"/>
                  </a:lnTo>
                  <a:lnTo>
                    <a:pt x="1023" y="208"/>
                  </a:lnTo>
                  <a:lnTo>
                    <a:pt x="1018" y="204"/>
                  </a:lnTo>
                  <a:lnTo>
                    <a:pt x="948" y="134"/>
                  </a:lnTo>
                  <a:lnTo>
                    <a:pt x="943" y="129"/>
                  </a:lnTo>
                  <a:lnTo>
                    <a:pt x="937" y="125"/>
                  </a:lnTo>
                  <a:lnTo>
                    <a:pt x="931" y="122"/>
                  </a:lnTo>
                  <a:lnTo>
                    <a:pt x="925" y="118"/>
                  </a:lnTo>
                  <a:lnTo>
                    <a:pt x="918" y="116"/>
                  </a:lnTo>
                  <a:lnTo>
                    <a:pt x="911" y="114"/>
                  </a:lnTo>
                  <a:lnTo>
                    <a:pt x="905" y="113"/>
                  </a:lnTo>
                  <a:lnTo>
                    <a:pt x="897" y="113"/>
                  </a:lnTo>
                  <a:lnTo>
                    <a:pt x="888" y="114"/>
                  </a:lnTo>
                  <a:lnTo>
                    <a:pt x="877" y="116"/>
                  </a:lnTo>
                  <a:lnTo>
                    <a:pt x="867" y="120"/>
                  </a:lnTo>
                  <a:lnTo>
                    <a:pt x="857" y="125"/>
                  </a:lnTo>
                  <a:lnTo>
                    <a:pt x="765" y="188"/>
                  </a:lnTo>
                  <a:lnTo>
                    <a:pt x="753" y="182"/>
                  </a:lnTo>
                  <a:lnTo>
                    <a:pt x="741" y="177"/>
                  </a:lnTo>
                  <a:lnTo>
                    <a:pt x="730" y="172"/>
                  </a:lnTo>
                  <a:lnTo>
                    <a:pt x="718" y="168"/>
                  </a:lnTo>
                  <a:lnTo>
                    <a:pt x="695" y="58"/>
                  </a:lnTo>
                  <a:lnTo>
                    <a:pt x="694" y="51"/>
                  </a:lnTo>
                  <a:lnTo>
                    <a:pt x="692" y="46"/>
                  </a:lnTo>
                  <a:lnTo>
                    <a:pt x="689" y="40"/>
                  </a:lnTo>
                  <a:lnTo>
                    <a:pt x="687" y="34"/>
                  </a:lnTo>
                  <a:lnTo>
                    <a:pt x="679" y="24"/>
                  </a:lnTo>
                  <a:lnTo>
                    <a:pt x="671" y="16"/>
                  </a:lnTo>
                  <a:lnTo>
                    <a:pt x="661" y="9"/>
                  </a:lnTo>
                  <a:lnTo>
                    <a:pt x="649" y="4"/>
                  </a:lnTo>
                  <a:lnTo>
                    <a:pt x="644" y="3"/>
                  </a:lnTo>
                  <a:lnTo>
                    <a:pt x="637" y="1"/>
                  </a:lnTo>
                  <a:lnTo>
                    <a:pt x="632" y="1"/>
                  </a:lnTo>
                  <a:lnTo>
                    <a:pt x="625" y="0"/>
                  </a:lnTo>
                  <a:lnTo>
                    <a:pt x="527" y="0"/>
                  </a:lnTo>
                  <a:lnTo>
                    <a:pt x="520" y="1"/>
                  </a:lnTo>
                  <a:lnTo>
                    <a:pt x="514" y="1"/>
                  </a:lnTo>
                  <a:lnTo>
                    <a:pt x="509" y="3"/>
                  </a:lnTo>
                  <a:lnTo>
                    <a:pt x="502" y="4"/>
                  </a:lnTo>
                  <a:lnTo>
                    <a:pt x="491" y="9"/>
                  </a:lnTo>
                  <a:lnTo>
                    <a:pt x="482" y="16"/>
                  </a:lnTo>
                  <a:lnTo>
                    <a:pt x="473" y="24"/>
                  </a:lnTo>
                  <a:lnTo>
                    <a:pt x="465" y="34"/>
                  </a:lnTo>
                  <a:lnTo>
                    <a:pt x="462" y="40"/>
                  </a:lnTo>
                  <a:lnTo>
                    <a:pt x="460" y="46"/>
                  </a:lnTo>
                  <a:lnTo>
                    <a:pt x="458" y="51"/>
                  </a:lnTo>
                  <a:lnTo>
                    <a:pt x="457" y="58"/>
                  </a:lnTo>
                  <a:lnTo>
                    <a:pt x="434" y="168"/>
                  </a:lnTo>
                  <a:lnTo>
                    <a:pt x="422" y="172"/>
                  </a:lnTo>
                  <a:lnTo>
                    <a:pt x="410" y="177"/>
                  </a:lnTo>
                  <a:lnTo>
                    <a:pt x="400" y="182"/>
                  </a:lnTo>
                  <a:lnTo>
                    <a:pt x="388" y="188"/>
                  </a:lnTo>
                  <a:lnTo>
                    <a:pt x="295" y="125"/>
                  </a:lnTo>
                  <a:lnTo>
                    <a:pt x="285" y="120"/>
                  </a:lnTo>
                  <a:lnTo>
                    <a:pt x="275" y="116"/>
                  </a:lnTo>
                  <a:lnTo>
                    <a:pt x="265" y="114"/>
                  </a:lnTo>
                  <a:lnTo>
                    <a:pt x="255" y="113"/>
                  </a:lnTo>
                  <a:lnTo>
                    <a:pt x="247" y="113"/>
                  </a:lnTo>
                  <a:lnTo>
                    <a:pt x="241" y="114"/>
                  </a:lnTo>
                  <a:lnTo>
                    <a:pt x="233" y="116"/>
                  </a:lnTo>
                  <a:lnTo>
                    <a:pt x="227" y="118"/>
                  </a:lnTo>
                  <a:lnTo>
                    <a:pt x="220" y="122"/>
                  </a:lnTo>
                  <a:lnTo>
                    <a:pt x="215" y="125"/>
                  </a:lnTo>
                  <a:lnTo>
                    <a:pt x="208" y="129"/>
                  </a:lnTo>
                  <a:lnTo>
                    <a:pt x="203" y="134"/>
                  </a:lnTo>
                  <a:lnTo>
                    <a:pt x="134" y="204"/>
                  </a:lnTo>
                  <a:lnTo>
                    <a:pt x="130" y="208"/>
                  </a:lnTo>
                  <a:lnTo>
                    <a:pt x="126" y="213"/>
                  </a:lnTo>
                  <a:lnTo>
                    <a:pt x="123" y="218"/>
                  </a:lnTo>
                  <a:lnTo>
                    <a:pt x="120" y="223"/>
                  </a:lnTo>
                  <a:lnTo>
                    <a:pt x="115" y="235"/>
                  </a:lnTo>
                  <a:lnTo>
                    <a:pt x="113" y="247"/>
                  </a:lnTo>
                  <a:lnTo>
                    <a:pt x="113" y="259"/>
                  </a:lnTo>
                  <a:lnTo>
                    <a:pt x="115" y="272"/>
                  </a:lnTo>
                  <a:lnTo>
                    <a:pt x="117" y="277"/>
                  </a:lnTo>
                  <a:lnTo>
                    <a:pt x="119" y="283"/>
                  </a:lnTo>
                  <a:lnTo>
                    <a:pt x="122" y="289"/>
                  </a:lnTo>
                  <a:lnTo>
                    <a:pt x="125" y="294"/>
                  </a:lnTo>
                  <a:lnTo>
                    <a:pt x="188" y="387"/>
                  </a:lnTo>
                  <a:lnTo>
                    <a:pt x="182" y="399"/>
                  </a:lnTo>
                  <a:lnTo>
                    <a:pt x="177" y="411"/>
                  </a:lnTo>
                  <a:lnTo>
                    <a:pt x="173" y="422"/>
                  </a:lnTo>
                  <a:lnTo>
                    <a:pt x="168" y="434"/>
                  </a:lnTo>
                  <a:lnTo>
                    <a:pt x="58" y="456"/>
                  </a:lnTo>
                  <a:lnTo>
                    <a:pt x="52" y="458"/>
                  </a:lnTo>
                  <a:lnTo>
                    <a:pt x="45" y="460"/>
                  </a:lnTo>
                  <a:lnTo>
                    <a:pt x="40" y="463"/>
                  </a:lnTo>
                  <a:lnTo>
                    <a:pt x="34" y="465"/>
                  </a:lnTo>
                  <a:lnTo>
                    <a:pt x="25" y="473"/>
                  </a:lnTo>
                  <a:lnTo>
                    <a:pt x="16" y="481"/>
                  </a:lnTo>
                  <a:lnTo>
                    <a:pt x="10" y="491"/>
                  </a:lnTo>
                  <a:lnTo>
                    <a:pt x="4" y="503"/>
                  </a:lnTo>
                  <a:lnTo>
                    <a:pt x="2" y="508"/>
                  </a:lnTo>
                  <a:lnTo>
                    <a:pt x="1" y="515"/>
                  </a:lnTo>
                  <a:lnTo>
                    <a:pt x="0" y="520"/>
                  </a:lnTo>
                  <a:lnTo>
                    <a:pt x="0" y="527"/>
                  </a:lnTo>
                  <a:lnTo>
                    <a:pt x="0" y="625"/>
                  </a:lnTo>
                  <a:lnTo>
                    <a:pt x="0" y="631"/>
                  </a:lnTo>
                  <a:lnTo>
                    <a:pt x="1" y="638"/>
                  </a:lnTo>
                  <a:lnTo>
                    <a:pt x="2" y="643"/>
                  </a:lnTo>
                  <a:lnTo>
                    <a:pt x="4" y="650"/>
                  </a:lnTo>
                  <a:lnTo>
                    <a:pt x="10" y="661"/>
                  </a:lnTo>
                  <a:lnTo>
                    <a:pt x="16" y="670"/>
                  </a:lnTo>
                  <a:lnTo>
                    <a:pt x="25" y="679"/>
                  </a:lnTo>
                  <a:lnTo>
                    <a:pt x="34" y="687"/>
                  </a:lnTo>
                  <a:lnTo>
                    <a:pt x="40" y="690"/>
                  </a:lnTo>
                  <a:lnTo>
                    <a:pt x="45" y="692"/>
                  </a:lnTo>
                  <a:lnTo>
                    <a:pt x="52" y="694"/>
                  </a:lnTo>
                  <a:lnTo>
                    <a:pt x="58" y="695"/>
                  </a:lnTo>
                  <a:lnTo>
                    <a:pt x="168" y="718"/>
                  </a:lnTo>
                  <a:lnTo>
                    <a:pt x="173" y="730"/>
                  </a:lnTo>
                  <a:lnTo>
                    <a:pt x="177" y="742"/>
                  </a:lnTo>
                  <a:lnTo>
                    <a:pt x="182" y="752"/>
                  </a:lnTo>
                  <a:lnTo>
                    <a:pt x="188" y="764"/>
                  </a:lnTo>
                  <a:lnTo>
                    <a:pt x="125" y="858"/>
                  </a:lnTo>
                  <a:lnTo>
                    <a:pt x="122" y="864"/>
                  </a:lnTo>
                  <a:lnTo>
                    <a:pt x="119" y="869"/>
                  </a:lnTo>
                  <a:lnTo>
                    <a:pt x="117" y="874"/>
                  </a:lnTo>
                  <a:lnTo>
                    <a:pt x="115" y="881"/>
                  </a:lnTo>
                  <a:lnTo>
                    <a:pt x="113" y="893"/>
                  </a:lnTo>
                  <a:lnTo>
                    <a:pt x="113" y="905"/>
                  </a:lnTo>
                  <a:lnTo>
                    <a:pt x="115" y="917"/>
                  </a:lnTo>
                  <a:lnTo>
                    <a:pt x="120" y="928"/>
                  </a:lnTo>
                  <a:lnTo>
                    <a:pt x="123" y="934"/>
                  </a:lnTo>
                  <a:lnTo>
                    <a:pt x="126" y="939"/>
                  </a:lnTo>
                  <a:lnTo>
                    <a:pt x="130" y="944"/>
                  </a:lnTo>
                  <a:lnTo>
                    <a:pt x="134" y="949"/>
                  </a:lnTo>
                  <a:lnTo>
                    <a:pt x="203" y="1018"/>
                  </a:lnTo>
                  <a:lnTo>
                    <a:pt x="208" y="1022"/>
                  </a:lnTo>
                  <a:lnTo>
                    <a:pt x="215" y="1027"/>
                  </a:lnTo>
                  <a:lnTo>
                    <a:pt x="220" y="1031"/>
                  </a:lnTo>
                  <a:lnTo>
                    <a:pt x="227" y="1033"/>
                  </a:lnTo>
                  <a:lnTo>
                    <a:pt x="233" y="1036"/>
                  </a:lnTo>
                  <a:lnTo>
                    <a:pt x="241" y="1038"/>
                  </a:lnTo>
                  <a:lnTo>
                    <a:pt x="247" y="1039"/>
                  </a:lnTo>
                  <a:lnTo>
                    <a:pt x="255" y="1039"/>
                  </a:lnTo>
                  <a:lnTo>
                    <a:pt x="265" y="1039"/>
                  </a:lnTo>
                  <a:lnTo>
                    <a:pt x="275" y="1036"/>
                  </a:lnTo>
                  <a:lnTo>
                    <a:pt x="285" y="1032"/>
                  </a:lnTo>
                  <a:lnTo>
                    <a:pt x="295" y="1027"/>
                  </a:lnTo>
                  <a:lnTo>
                    <a:pt x="388" y="964"/>
                  </a:lnTo>
                  <a:lnTo>
                    <a:pt x="400" y="969"/>
                  </a:lnTo>
                  <a:lnTo>
                    <a:pt x="410" y="975"/>
                  </a:lnTo>
                  <a:lnTo>
                    <a:pt x="422" y="979"/>
                  </a:lnTo>
                  <a:lnTo>
                    <a:pt x="434" y="984"/>
                  </a:lnTo>
                  <a:lnTo>
                    <a:pt x="457" y="1094"/>
                  </a:lnTo>
                  <a:lnTo>
                    <a:pt x="458" y="1100"/>
                  </a:lnTo>
                  <a:lnTo>
                    <a:pt x="460" y="1107"/>
                  </a:lnTo>
                  <a:lnTo>
                    <a:pt x="462" y="1112"/>
                  </a:lnTo>
                  <a:lnTo>
                    <a:pt x="465" y="1117"/>
                  </a:lnTo>
                  <a:lnTo>
                    <a:pt x="473" y="1127"/>
                  </a:lnTo>
                  <a:lnTo>
                    <a:pt x="482" y="1136"/>
                  </a:lnTo>
                  <a:lnTo>
                    <a:pt x="491" y="1142"/>
                  </a:lnTo>
                  <a:lnTo>
                    <a:pt x="502" y="1148"/>
                  </a:lnTo>
                  <a:lnTo>
                    <a:pt x="509" y="1150"/>
                  </a:lnTo>
                  <a:lnTo>
                    <a:pt x="514" y="1151"/>
                  </a:lnTo>
                  <a:lnTo>
                    <a:pt x="520" y="1152"/>
                  </a:lnTo>
                  <a:lnTo>
                    <a:pt x="527" y="1152"/>
                  </a:lnTo>
                  <a:lnTo>
                    <a:pt x="625" y="1152"/>
                  </a:lnTo>
                  <a:lnTo>
                    <a:pt x="632" y="1152"/>
                  </a:lnTo>
                  <a:lnTo>
                    <a:pt x="637" y="1151"/>
                  </a:lnTo>
                  <a:lnTo>
                    <a:pt x="644" y="1150"/>
                  </a:lnTo>
                  <a:lnTo>
                    <a:pt x="649" y="1148"/>
                  </a:lnTo>
                  <a:lnTo>
                    <a:pt x="661" y="1142"/>
                  </a:lnTo>
                  <a:lnTo>
                    <a:pt x="671" y="1136"/>
                  </a:lnTo>
                  <a:lnTo>
                    <a:pt x="679" y="1127"/>
                  </a:lnTo>
                  <a:lnTo>
                    <a:pt x="687" y="1117"/>
                  </a:lnTo>
                  <a:lnTo>
                    <a:pt x="689" y="1112"/>
                  </a:lnTo>
                  <a:lnTo>
                    <a:pt x="692" y="1107"/>
                  </a:lnTo>
                  <a:lnTo>
                    <a:pt x="694" y="1100"/>
                  </a:lnTo>
                  <a:lnTo>
                    <a:pt x="695" y="1094"/>
                  </a:lnTo>
                  <a:lnTo>
                    <a:pt x="718" y="984"/>
                  </a:lnTo>
                  <a:lnTo>
                    <a:pt x="730" y="979"/>
                  </a:lnTo>
                  <a:lnTo>
                    <a:pt x="741" y="975"/>
                  </a:lnTo>
                  <a:lnTo>
                    <a:pt x="753" y="969"/>
                  </a:lnTo>
                  <a:lnTo>
                    <a:pt x="765" y="964"/>
                  </a:lnTo>
                  <a:lnTo>
                    <a:pt x="857" y="1027"/>
                  </a:lnTo>
                  <a:lnTo>
                    <a:pt x="867" y="1032"/>
                  </a:lnTo>
                  <a:lnTo>
                    <a:pt x="877" y="1036"/>
                  </a:lnTo>
                  <a:lnTo>
                    <a:pt x="888" y="1039"/>
                  </a:lnTo>
                  <a:lnTo>
                    <a:pt x="897" y="1039"/>
                  </a:lnTo>
                  <a:lnTo>
                    <a:pt x="905" y="1039"/>
                  </a:lnTo>
                  <a:lnTo>
                    <a:pt x="911" y="1038"/>
                  </a:lnTo>
                  <a:lnTo>
                    <a:pt x="918" y="1036"/>
                  </a:lnTo>
                  <a:lnTo>
                    <a:pt x="925" y="1033"/>
                  </a:lnTo>
                  <a:lnTo>
                    <a:pt x="931" y="1031"/>
                  </a:lnTo>
                  <a:lnTo>
                    <a:pt x="937" y="1027"/>
                  </a:lnTo>
                  <a:lnTo>
                    <a:pt x="943" y="1022"/>
                  </a:lnTo>
                  <a:lnTo>
                    <a:pt x="948" y="1018"/>
                  </a:lnTo>
                  <a:lnTo>
                    <a:pt x="1018" y="949"/>
                  </a:lnTo>
                  <a:lnTo>
                    <a:pt x="1023" y="944"/>
                  </a:lnTo>
                  <a:lnTo>
                    <a:pt x="1026" y="939"/>
                  </a:lnTo>
                  <a:lnTo>
                    <a:pt x="1029" y="934"/>
                  </a:lnTo>
                  <a:lnTo>
                    <a:pt x="1032" y="928"/>
                  </a:lnTo>
                  <a:lnTo>
                    <a:pt x="1037" y="917"/>
                  </a:lnTo>
                  <a:lnTo>
                    <a:pt x="1039" y="905"/>
                  </a:lnTo>
                  <a:lnTo>
                    <a:pt x="1039" y="893"/>
                  </a:lnTo>
                  <a:lnTo>
                    <a:pt x="1037" y="881"/>
                  </a:lnTo>
                  <a:lnTo>
                    <a:pt x="1036" y="874"/>
                  </a:lnTo>
                  <a:lnTo>
                    <a:pt x="1033" y="869"/>
                  </a:lnTo>
                  <a:lnTo>
                    <a:pt x="1030" y="864"/>
                  </a:lnTo>
                  <a:lnTo>
                    <a:pt x="1027" y="858"/>
                  </a:lnTo>
                  <a:lnTo>
                    <a:pt x="964" y="764"/>
                  </a:lnTo>
                  <a:lnTo>
                    <a:pt x="970" y="752"/>
                  </a:lnTo>
                  <a:lnTo>
                    <a:pt x="975" y="742"/>
                  </a:lnTo>
                  <a:lnTo>
                    <a:pt x="979" y="730"/>
                  </a:lnTo>
                  <a:lnTo>
                    <a:pt x="984" y="718"/>
                  </a:lnTo>
                  <a:lnTo>
                    <a:pt x="1094" y="695"/>
                  </a:lnTo>
                  <a:lnTo>
                    <a:pt x="1100" y="694"/>
                  </a:lnTo>
                  <a:lnTo>
                    <a:pt x="1106" y="692"/>
                  </a:lnTo>
                  <a:lnTo>
                    <a:pt x="1112" y="690"/>
                  </a:lnTo>
                  <a:lnTo>
                    <a:pt x="1118" y="687"/>
                  </a:lnTo>
                  <a:lnTo>
                    <a:pt x="1127" y="679"/>
                  </a:lnTo>
                  <a:lnTo>
                    <a:pt x="1136" y="670"/>
                  </a:lnTo>
                  <a:lnTo>
                    <a:pt x="1143" y="661"/>
                  </a:lnTo>
                  <a:lnTo>
                    <a:pt x="1148" y="650"/>
                  </a:lnTo>
                  <a:lnTo>
                    <a:pt x="1149" y="643"/>
                  </a:lnTo>
                  <a:lnTo>
                    <a:pt x="1151" y="638"/>
                  </a:lnTo>
                  <a:lnTo>
                    <a:pt x="1151" y="631"/>
                  </a:lnTo>
                  <a:lnTo>
                    <a:pt x="1152" y="625"/>
                  </a:lnTo>
                  <a:lnTo>
                    <a:pt x="1152" y="527"/>
                  </a:lnTo>
                  <a:lnTo>
                    <a:pt x="1151" y="520"/>
                  </a:lnTo>
                  <a:lnTo>
                    <a:pt x="1151" y="515"/>
                  </a:lnTo>
                  <a:lnTo>
                    <a:pt x="1149" y="508"/>
                  </a:lnTo>
                  <a:lnTo>
                    <a:pt x="1148" y="503"/>
                  </a:lnTo>
                  <a:lnTo>
                    <a:pt x="1143" y="491"/>
                  </a:lnTo>
                  <a:lnTo>
                    <a:pt x="1136" y="481"/>
                  </a:lnTo>
                  <a:lnTo>
                    <a:pt x="1127" y="473"/>
                  </a:lnTo>
                  <a:lnTo>
                    <a:pt x="1118" y="465"/>
                  </a:lnTo>
                  <a:lnTo>
                    <a:pt x="1112" y="463"/>
                  </a:lnTo>
                  <a:lnTo>
                    <a:pt x="1106" y="460"/>
                  </a:lnTo>
                  <a:lnTo>
                    <a:pt x="1100" y="458"/>
                  </a:lnTo>
                  <a:lnTo>
                    <a:pt x="1094"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25"/>
            <p:cNvSpPr>
              <a:spLocks noEditPoints="1"/>
            </p:cNvSpPr>
            <p:nvPr/>
          </p:nvSpPr>
          <p:spPr bwMode="auto">
            <a:xfrm>
              <a:off x="4691856" y="2882503"/>
              <a:ext cx="200025" cy="200025"/>
            </a:xfrm>
            <a:custGeom>
              <a:avLst/>
              <a:gdLst>
                <a:gd name="T0" fmla="*/ 218 w 504"/>
                <a:gd name="T1" fmla="*/ 469 h 504"/>
                <a:gd name="T2" fmla="*/ 147 w 504"/>
                <a:gd name="T3" fmla="*/ 446 h 504"/>
                <a:gd name="T4" fmla="*/ 82 w 504"/>
                <a:gd name="T5" fmla="*/ 392 h 504"/>
                <a:gd name="T6" fmla="*/ 41 w 504"/>
                <a:gd name="T7" fmla="*/ 317 h 504"/>
                <a:gd name="T8" fmla="*/ 32 w 504"/>
                <a:gd name="T9" fmla="*/ 263 h 504"/>
                <a:gd name="T10" fmla="*/ 34 w 504"/>
                <a:gd name="T11" fmla="*/ 219 h 504"/>
                <a:gd name="T12" fmla="*/ 58 w 504"/>
                <a:gd name="T13" fmla="*/ 147 h 504"/>
                <a:gd name="T14" fmla="*/ 112 w 504"/>
                <a:gd name="T15" fmla="*/ 82 h 504"/>
                <a:gd name="T16" fmla="*/ 187 w 504"/>
                <a:gd name="T17" fmla="*/ 42 h 504"/>
                <a:gd name="T18" fmla="*/ 241 w 504"/>
                <a:gd name="T19" fmla="*/ 32 h 504"/>
                <a:gd name="T20" fmla="*/ 286 w 504"/>
                <a:gd name="T21" fmla="*/ 34 h 504"/>
                <a:gd name="T22" fmla="*/ 357 w 504"/>
                <a:gd name="T23" fmla="*/ 58 h 504"/>
                <a:gd name="T24" fmla="*/ 422 w 504"/>
                <a:gd name="T25" fmla="*/ 112 h 504"/>
                <a:gd name="T26" fmla="*/ 462 w 504"/>
                <a:gd name="T27" fmla="*/ 186 h 504"/>
                <a:gd name="T28" fmla="*/ 472 w 504"/>
                <a:gd name="T29" fmla="*/ 240 h 504"/>
                <a:gd name="T30" fmla="*/ 470 w 504"/>
                <a:gd name="T31" fmla="*/ 286 h 504"/>
                <a:gd name="T32" fmla="*/ 446 w 504"/>
                <a:gd name="T33" fmla="*/ 357 h 504"/>
                <a:gd name="T34" fmla="*/ 392 w 504"/>
                <a:gd name="T35" fmla="*/ 422 h 504"/>
                <a:gd name="T36" fmla="*/ 317 w 504"/>
                <a:gd name="T37" fmla="*/ 463 h 504"/>
                <a:gd name="T38" fmla="*/ 263 w 504"/>
                <a:gd name="T39" fmla="*/ 473 h 504"/>
                <a:gd name="T40" fmla="*/ 239 w 504"/>
                <a:gd name="T41" fmla="*/ 1 h 504"/>
                <a:gd name="T42" fmla="*/ 189 w 504"/>
                <a:gd name="T43" fmla="*/ 8 h 504"/>
                <a:gd name="T44" fmla="*/ 142 w 504"/>
                <a:gd name="T45" fmla="*/ 24 h 504"/>
                <a:gd name="T46" fmla="*/ 101 w 504"/>
                <a:gd name="T47" fmla="*/ 50 h 504"/>
                <a:gd name="T48" fmla="*/ 66 w 504"/>
                <a:gd name="T49" fmla="*/ 83 h 504"/>
                <a:gd name="T50" fmla="*/ 37 w 504"/>
                <a:gd name="T51" fmla="*/ 122 h 504"/>
                <a:gd name="T52" fmla="*/ 15 w 504"/>
                <a:gd name="T53" fmla="*/ 165 h 504"/>
                <a:gd name="T54" fmla="*/ 3 w 504"/>
                <a:gd name="T55" fmla="*/ 213 h 504"/>
                <a:gd name="T56" fmla="*/ 0 w 504"/>
                <a:gd name="T57" fmla="*/ 265 h 504"/>
                <a:gd name="T58" fmla="*/ 7 w 504"/>
                <a:gd name="T59" fmla="*/ 315 h 504"/>
                <a:gd name="T60" fmla="*/ 25 w 504"/>
                <a:gd name="T61" fmla="*/ 361 h 504"/>
                <a:gd name="T62" fmla="*/ 50 w 504"/>
                <a:gd name="T63" fmla="*/ 402 h 504"/>
                <a:gd name="T64" fmla="*/ 83 w 504"/>
                <a:gd name="T65" fmla="*/ 438 h 504"/>
                <a:gd name="T66" fmla="*/ 121 w 504"/>
                <a:gd name="T67" fmla="*/ 467 h 504"/>
                <a:gd name="T68" fmla="*/ 165 w 504"/>
                <a:gd name="T69" fmla="*/ 489 h 504"/>
                <a:gd name="T70" fmla="*/ 214 w 504"/>
                <a:gd name="T71" fmla="*/ 501 h 504"/>
                <a:gd name="T72" fmla="*/ 265 w 504"/>
                <a:gd name="T73" fmla="*/ 504 h 504"/>
                <a:gd name="T74" fmla="*/ 315 w 504"/>
                <a:gd name="T75" fmla="*/ 496 h 504"/>
                <a:gd name="T76" fmla="*/ 362 w 504"/>
                <a:gd name="T77" fmla="*/ 479 h 504"/>
                <a:gd name="T78" fmla="*/ 403 w 504"/>
                <a:gd name="T79" fmla="*/ 454 h 504"/>
                <a:gd name="T80" fmla="*/ 438 w 504"/>
                <a:gd name="T81" fmla="*/ 421 h 504"/>
                <a:gd name="T82" fmla="*/ 468 w 504"/>
                <a:gd name="T83" fmla="*/ 383 h 504"/>
                <a:gd name="T84" fmla="*/ 489 w 504"/>
                <a:gd name="T85" fmla="*/ 339 h 504"/>
                <a:gd name="T86" fmla="*/ 501 w 504"/>
                <a:gd name="T87" fmla="*/ 290 h 504"/>
                <a:gd name="T88" fmla="*/ 503 w 504"/>
                <a:gd name="T89" fmla="*/ 239 h 504"/>
                <a:gd name="T90" fmla="*/ 496 w 504"/>
                <a:gd name="T91" fmla="*/ 189 h 504"/>
                <a:gd name="T92" fmla="*/ 479 w 504"/>
                <a:gd name="T93" fmla="*/ 142 h 504"/>
                <a:gd name="T94" fmla="*/ 454 w 504"/>
                <a:gd name="T95" fmla="*/ 101 h 504"/>
                <a:gd name="T96" fmla="*/ 421 w 504"/>
                <a:gd name="T97" fmla="*/ 66 h 504"/>
                <a:gd name="T98" fmla="*/ 382 w 504"/>
                <a:gd name="T99" fmla="*/ 36 h 504"/>
                <a:gd name="T100" fmla="*/ 339 w 504"/>
                <a:gd name="T101" fmla="*/ 15 h 504"/>
                <a:gd name="T102" fmla="*/ 290 w 504"/>
                <a:gd name="T103" fmla="*/ 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4" h="504">
                  <a:moveTo>
                    <a:pt x="252" y="473"/>
                  </a:moveTo>
                  <a:lnTo>
                    <a:pt x="241" y="473"/>
                  </a:lnTo>
                  <a:lnTo>
                    <a:pt x="230" y="472"/>
                  </a:lnTo>
                  <a:lnTo>
                    <a:pt x="218" y="469"/>
                  </a:lnTo>
                  <a:lnTo>
                    <a:pt x="207" y="468"/>
                  </a:lnTo>
                  <a:lnTo>
                    <a:pt x="187" y="463"/>
                  </a:lnTo>
                  <a:lnTo>
                    <a:pt x="166" y="455"/>
                  </a:lnTo>
                  <a:lnTo>
                    <a:pt x="147" y="446"/>
                  </a:lnTo>
                  <a:lnTo>
                    <a:pt x="128" y="435"/>
                  </a:lnTo>
                  <a:lnTo>
                    <a:pt x="112" y="422"/>
                  </a:lnTo>
                  <a:lnTo>
                    <a:pt x="96" y="408"/>
                  </a:lnTo>
                  <a:lnTo>
                    <a:pt x="82" y="392"/>
                  </a:lnTo>
                  <a:lnTo>
                    <a:pt x="69" y="375"/>
                  </a:lnTo>
                  <a:lnTo>
                    <a:pt x="58" y="357"/>
                  </a:lnTo>
                  <a:lnTo>
                    <a:pt x="49" y="338"/>
                  </a:lnTo>
                  <a:lnTo>
                    <a:pt x="41" y="317"/>
                  </a:lnTo>
                  <a:lnTo>
                    <a:pt x="36" y="297"/>
                  </a:lnTo>
                  <a:lnTo>
                    <a:pt x="34" y="286"/>
                  </a:lnTo>
                  <a:lnTo>
                    <a:pt x="32" y="274"/>
                  </a:lnTo>
                  <a:lnTo>
                    <a:pt x="32" y="263"/>
                  </a:lnTo>
                  <a:lnTo>
                    <a:pt x="31" y="252"/>
                  </a:lnTo>
                  <a:lnTo>
                    <a:pt x="32" y="240"/>
                  </a:lnTo>
                  <a:lnTo>
                    <a:pt x="32" y="230"/>
                  </a:lnTo>
                  <a:lnTo>
                    <a:pt x="34" y="219"/>
                  </a:lnTo>
                  <a:lnTo>
                    <a:pt x="36" y="207"/>
                  </a:lnTo>
                  <a:lnTo>
                    <a:pt x="41" y="186"/>
                  </a:lnTo>
                  <a:lnTo>
                    <a:pt x="49" y="166"/>
                  </a:lnTo>
                  <a:lnTo>
                    <a:pt x="58" y="147"/>
                  </a:lnTo>
                  <a:lnTo>
                    <a:pt x="69" y="128"/>
                  </a:lnTo>
                  <a:lnTo>
                    <a:pt x="82" y="112"/>
                  </a:lnTo>
                  <a:lnTo>
                    <a:pt x="96" y="96"/>
                  </a:lnTo>
                  <a:lnTo>
                    <a:pt x="112" y="82"/>
                  </a:lnTo>
                  <a:lnTo>
                    <a:pt x="128" y="69"/>
                  </a:lnTo>
                  <a:lnTo>
                    <a:pt x="147" y="58"/>
                  </a:lnTo>
                  <a:lnTo>
                    <a:pt x="166" y="49"/>
                  </a:lnTo>
                  <a:lnTo>
                    <a:pt x="187" y="42"/>
                  </a:lnTo>
                  <a:lnTo>
                    <a:pt x="207" y="36"/>
                  </a:lnTo>
                  <a:lnTo>
                    <a:pt x="218" y="34"/>
                  </a:lnTo>
                  <a:lnTo>
                    <a:pt x="230" y="33"/>
                  </a:lnTo>
                  <a:lnTo>
                    <a:pt x="241" y="32"/>
                  </a:lnTo>
                  <a:lnTo>
                    <a:pt x="252" y="31"/>
                  </a:lnTo>
                  <a:lnTo>
                    <a:pt x="263" y="32"/>
                  </a:lnTo>
                  <a:lnTo>
                    <a:pt x="274" y="33"/>
                  </a:lnTo>
                  <a:lnTo>
                    <a:pt x="286" y="34"/>
                  </a:lnTo>
                  <a:lnTo>
                    <a:pt x="297" y="36"/>
                  </a:lnTo>
                  <a:lnTo>
                    <a:pt x="317" y="42"/>
                  </a:lnTo>
                  <a:lnTo>
                    <a:pt x="338" y="49"/>
                  </a:lnTo>
                  <a:lnTo>
                    <a:pt x="357" y="58"/>
                  </a:lnTo>
                  <a:lnTo>
                    <a:pt x="376" y="69"/>
                  </a:lnTo>
                  <a:lnTo>
                    <a:pt x="392" y="82"/>
                  </a:lnTo>
                  <a:lnTo>
                    <a:pt x="408" y="96"/>
                  </a:lnTo>
                  <a:lnTo>
                    <a:pt x="422" y="112"/>
                  </a:lnTo>
                  <a:lnTo>
                    <a:pt x="435" y="128"/>
                  </a:lnTo>
                  <a:lnTo>
                    <a:pt x="446" y="147"/>
                  </a:lnTo>
                  <a:lnTo>
                    <a:pt x="456" y="166"/>
                  </a:lnTo>
                  <a:lnTo>
                    <a:pt x="462" y="186"/>
                  </a:lnTo>
                  <a:lnTo>
                    <a:pt x="468" y="207"/>
                  </a:lnTo>
                  <a:lnTo>
                    <a:pt x="470" y="219"/>
                  </a:lnTo>
                  <a:lnTo>
                    <a:pt x="472" y="230"/>
                  </a:lnTo>
                  <a:lnTo>
                    <a:pt x="472" y="240"/>
                  </a:lnTo>
                  <a:lnTo>
                    <a:pt x="473" y="252"/>
                  </a:lnTo>
                  <a:lnTo>
                    <a:pt x="472" y="263"/>
                  </a:lnTo>
                  <a:lnTo>
                    <a:pt x="472" y="274"/>
                  </a:lnTo>
                  <a:lnTo>
                    <a:pt x="470" y="286"/>
                  </a:lnTo>
                  <a:lnTo>
                    <a:pt x="468" y="297"/>
                  </a:lnTo>
                  <a:lnTo>
                    <a:pt x="462" y="317"/>
                  </a:lnTo>
                  <a:lnTo>
                    <a:pt x="456" y="338"/>
                  </a:lnTo>
                  <a:lnTo>
                    <a:pt x="446" y="357"/>
                  </a:lnTo>
                  <a:lnTo>
                    <a:pt x="435" y="375"/>
                  </a:lnTo>
                  <a:lnTo>
                    <a:pt x="422" y="392"/>
                  </a:lnTo>
                  <a:lnTo>
                    <a:pt x="408" y="408"/>
                  </a:lnTo>
                  <a:lnTo>
                    <a:pt x="392" y="422"/>
                  </a:lnTo>
                  <a:lnTo>
                    <a:pt x="376" y="435"/>
                  </a:lnTo>
                  <a:lnTo>
                    <a:pt x="357" y="446"/>
                  </a:lnTo>
                  <a:lnTo>
                    <a:pt x="338" y="455"/>
                  </a:lnTo>
                  <a:lnTo>
                    <a:pt x="317" y="463"/>
                  </a:lnTo>
                  <a:lnTo>
                    <a:pt x="297" y="468"/>
                  </a:lnTo>
                  <a:lnTo>
                    <a:pt x="286" y="469"/>
                  </a:lnTo>
                  <a:lnTo>
                    <a:pt x="274" y="472"/>
                  </a:lnTo>
                  <a:lnTo>
                    <a:pt x="263" y="473"/>
                  </a:lnTo>
                  <a:lnTo>
                    <a:pt x="252" y="473"/>
                  </a:lnTo>
                  <a:lnTo>
                    <a:pt x="252" y="473"/>
                  </a:lnTo>
                  <a:close/>
                  <a:moveTo>
                    <a:pt x="252" y="0"/>
                  </a:moveTo>
                  <a:lnTo>
                    <a:pt x="239" y="1"/>
                  </a:lnTo>
                  <a:lnTo>
                    <a:pt x="227" y="1"/>
                  </a:lnTo>
                  <a:lnTo>
                    <a:pt x="214" y="3"/>
                  </a:lnTo>
                  <a:lnTo>
                    <a:pt x="201" y="5"/>
                  </a:lnTo>
                  <a:lnTo>
                    <a:pt x="189" y="8"/>
                  </a:lnTo>
                  <a:lnTo>
                    <a:pt x="177" y="12"/>
                  </a:lnTo>
                  <a:lnTo>
                    <a:pt x="165" y="15"/>
                  </a:lnTo>
                  <a:lnTo>
                    <a:pt x="154" y="20"/>
                  </a:lnTo>
                  <a:lnTo>
                    <a:pt x="142" y="24"/>
                  </a:lnTo>
                  <a:lnTo>
                    <a:pt x="132" y="30"/>
                  </a:lnTo>
                  <a:lnTo>
                    <a:pt x="121" y="36"/>
                  </a:lnTo>
                  <a:lnTo>
                    <a:pt x="111" y="43"/>
                  </a:lnTo>
                  <a:lnTo>
                    <a:pt x="101" y="50"/>
                  </a:lnTo>
                  <a:lnTo>
                    <a:pt x="92" y="58"/>
                  </a:lnTo>
                  <a:lnTo>
                    <a:pt x="83" y="66"/>
                  </a:lnTo>
                  <a:lnTo>
                    <a:pt x="73" y="74"/>
                  </a:lnTo>
                  <a:lnTo>
                    <a:pt x="66" y="83"/>
                  </a:lnTo>
                  <a:lnTo>
                    <a:pt x="57" y="91"/>
                  </a:lnTo>
                  <a:lnTo>
                    <a:pt x="50" y="101"/>
                  </a:lnTo>
                  <a:lnTo>
                    <a:pt x="43" y="111"/>
                  </a:lnTo>
                  <a:lnTo>
                    <a:pt x="37" y="122"/>
                  </a:lnTo>
                  <a:lnTo>
                    <a:pt x="30" y="131"/>
                  </a:lnTo>
                  <a:lnTo>
                    <a:pt x="25" y="142"/>
                  </a:lnTo>
                  <a:lnTo>
                    <a:pt x="19" y="154"/>
                  </a:lnTo>
                  <a:lnTo>
                    <a:pt x="15" y="165"/>
                  </a:lnTo>
                  <a:lnTo>
                    <a:pt x="12" y="177"/>
                  </a:lnTo>
                  <a:lnTo>
                    <a:pt x="7" y="189"/>
                  </a:lnTo>
                  <a:lnTo>
                    <a:pt x="5" y="202"/>
                  </a:lnTo>
                  <a:lnTo>
                    <a:pt x="3" y="213"/>
                  </a:lnTo>
                  <a:lnTo>
                    <a:pt x="1" y="226"/>
                  </a:lnTo>
                  <a:lnTo>
                    <a:pt x="0" y="239"/>
                  </a:lnTo>
                  <a:lnTo>
                    <a:pt x="0" y="252"/>
                  </a:lnTo>
                  <a:lnTo>
                    <a:pt x="0" y="265"/>
                  </a:lnTo>
                  <a:lnTo>
                    <a:pt x="1" y="277"/>
                  </a:lnTo>
                  <a:lnTo>
                    <a:pt x="3" y="290"/>
                  </a:lnTo>
                  <a:lnTo>
                    <a:pt x="5" y="303"/>
                  </a:lnTo>
                  <a:lnTo>
                    <a:pt x="7" y="315"/>
                  </a:lnTo>
                  <a:lnTo>
                    <a:pt x="12" y="327"/>
                  </a:lnTo>
                  <a:lnTo>
                    <a:pt x="15" y="339"/>
                  </a:lnTo>
                  <a:lnTo>
                    <a:pt x="19" y="350"/>
                  </a:lnTo>
                  <a:lnTo>
                    <a:pt x="25" y="361"/>
                  </a:lnTo>
                  <a:lnTo>
                    <a:pt x="30" y="372"/>
                  </a:lnTo>
                  <a:lnTo>
                    <a:pt x="37" y="383"/>
                  </a:lnTo>
                  <a:lnTo>
                    <a:pt x="43" y="393"/>
                  </a:lnTo>
                  <a:lnTo>
                    <a:pt x="50" y="402"/>
                  </a:lnTo>
                  <a:lnTo>
                    <a:pt x="57" y="412"/>
                  </a:lnTo>
                  <a:lnTo>
                    <a:pt x="66" y="421"/>
                  </a:lnTo>
                  <a:lnTo>
                    <a:pt x="73" y="431"/>
                  </a:lnTo>
                  <a:lnTo>
                    <a:pt x="83" y="438"/>
                  </a:lnTo>
                  <a:lnTo>
                    <a:pt x="92" y="447"/>
                  </a:lnTo>
                  <a:lnTo>
                    <a:pt x="101" y="454"/>
                  </a:lnTo>
                  <a:lnTo>
                    <a:pt x="111" y="461"/>
                  </a:lnTo>
                  <a:lnTo>
                    <a:pt x="121" y="467"/>
                  </a:lnTo>
                  <a:lnTo>
                    <a:pt x="132" y="474"/>
                  </a:lnTo>
                  <a:lnTo>
                    <a:pt x="142" y="479"/>
                  </a:lnTo>
                  <a:lnTo>
                    <a:pt x="154" y="485"/>
                  </a:lnTo>
                  <a:lnTo>
                    <a:pt x="165" y="489"/>
                  </a:lnTo>
                  <a:lnTo>
                    <a:pt x="177" y="492"/>
                  </a:lnTo>
                  <a:lnTo>
                    <a:pt x="189" y="496"/>
                  </a:lnTo>
                  <a:lnTo>
                    <a:pt x="201" y="499"/>
                  </a:lnTo>
                  <a:lnTo>
                    <a:pt x="214" y="501"/>
                  </a:lnTo>
                  <a:lnTo>
                    <a:pt x="227" y="503"/>
                  </a:lnTo>
                  <a:lnTo>
                    <a:pt x="239" y="504"/>
                  </a:lnTo>
                  <a:lnTo>
                    <a:pt x="252" y="504"/>
                  </a:lnTo>
                  <a:lnTo>
                    <a:pt x="265" y="504"/>
                  </a:lnTo>
                  <a:lnTo>
                    <a:pt x="277" y="503"/>
                  </a:lnTo>
                  <a:lnTo>
                    <a:pt x="290" y="501"/>
                  </a:lnTo>
                  <a:lnTo>
                    <a:pt x="302" y="499"/>
                  </a:lnTo>
                  <a:lnTo>
                    <a:pt x="315" y="496"/>
                  </a:lnTo>
                  <a:lnTo>
                    <a:pt x="327" y="492"/>
                  </a:lnTo>
                  <a:lnTo>
                    <a:pt x="339" y="489"/>
                  </a:lnTo>
                  <a:lnTo>
                    <a:pt x="350" y="485"/>
                  </a:lnTo>
                  <a:lnTo>
                    <a:pt x="362" y="479"/>
                  </a:lnTo>
                  <a:lnTo>
                    <a:pt x="373" y="474"/>
                  </a:lnTo>
                  <a:lnTo>
                    <a:pt x="382" y="467"/>
                  </a:lnTo>
                  <a:lnTo>
                    <a:pt x="393" y="461"/>
                  </a:lnTo>
                  <a:lnTo>
                    <a:pt x="403" y="454"/>
                  </a:lnTo>
                  <a:lnTo>
                    <a:pt x="412" y="447"/>
                  </a:lnTo>
                  <a:lnTo>
                    <a:pt x="421" y="438"/>
                  </a:lnTo>
                  <a:lnTo>
                    <a:pt x="430" y="431"/>
                  </a:lnTo>
                  <a:lnTo>
                    <a:pt x="438" y="421"/>
                  </a:lnTo>
                  <a:lnTo>
                    <a:pt x="446" y="412"/>
                  </a:lnTo>
                  <a:lnTo>
                    <a:pt x="454" y="402"/>
                  </a:lnTo>
                  <a:lnTo>
                    <a:pt x="461" y="393"/>
                  </a:lnTo>
                  <a:lnTo>
                    <a:pt x="468" y="383"/>
                  </a:lnTo>
                  <a:lnTo>
                    <a:pt x="474" y="372"/>
                  </a:lnTo>
                  <a:lnTo>
                    <a:pt x="479" y="361"/>
                  </a:lnTo>
                  <a:lnTo>
                    <a:pt x="484" y="350"/>
                  </a:lnTo>
                  <a:lnTo>
                    <a:pt x="489" y="339"/>
                  </a:lnTo>
                  <a:lnTo>
                    <a:pt x="492" y="327"/>
                  </a:lnTo>
                  <a:lnTo>
                    <a:pt x="496" y="315"/>
                  </a:lnTo>
                  <a:lnTo>
                    <a:pt x="499" y="303"/>
                  </a:lnTo>
                  <a:lnTo>
                    <a:pt x="501" y="290"/>
                  </a:lnTo>
                  <a:lnTo>
                    <a:pt x="503" y="277"/>
                  </a:lnTo>
                  <a:lnTo>
                    <a:pt x="503" y="265"/>
                  </a:lnTo>
                  <a:lnTo>
                    <a:pt x="504" y="252"/>
                  </a:lnTo>
                  <a:lnTo>
                    <a:pt x="503" y="239"/>
                  </a:lnTo>
                  <a:lnTo>
                    <a:pt x="503" y="226"/>
                  </a:lnTo>
                  <a:lnTo>
                    <a:pt x="501" y="213"/>
                  </a:lnTo>
                  <a:lnTo>
                    <a:pt x="499" y="202"/>
                  </a:lnTo>
                  <a:lnTo>
                    <a:pt x="496" y="189"/>
                  </a:lnTo>
                  <a:lnTo>
                    <a:pt x="492" y="177"/>
                  </a:lnTo>
                  <a:lnTo>
                    <a:pt x="489" y="165"/>
                  </a:lnTo>
                  <a:lnTo>
                    <a:pt x="484" y="154"/>
                  </a:lnTo>
                  <a:lnTo>
                    <a:pt x="479" y="142"/>
                  </a:lnTo>
                  <a:lnTo>
                    <a:pt x="474" y="131"/>
                  </a:lnTo>
                  <a:lnTo>
                    <a:pt x="468" y="122"/>
                  </a:lnTo>
                  <a:lnTo>
                    <a:pt x="461" y="111"/>
                  </a:lnTo>
                  <a:lnTo>
                    <a:pt x="454" y="101"/>
                  </a:lnTo>
                  <a:lnTo>
                    <a:pt x="446" y="91"/>
                  </a:lnTo>
                  <a:lnTo>
                    <a:pt x="438" y="83"/>
                  </a:lnTo>
                  <a:lnTo>
                    <a:pt x="430" y="74"/>
                  </a:lnTo>
                  <a:lnTo>
                    <a:pt x="421" y="66"/>
                  </a:lnTo>
                  <a:lnTo>
                    <a:pt x="412" y="58"/>
                  </a:lnTo>
                  <a:lnTo>
                    <a:pt x="403" y="50"/>
                  </a:lnTo>
                  <a:lnTo>
                    <a:pt x="393" y="43"/>
                  </a:lnTo>
                  <a:lnTo>
                    <a:pt x="382" y="36"/>
                  </a:lnTo>
                  <a:lnTo>
                    <a:pt x="373" y="30"/>
                  </a:lnTo>
                  <a:lnTo>
                    <a:pt x="362" y="24"/>
                  </a:lnTo>
                  <a:lnTo>
                    <a:pt x="350" y="20"/>
                  </a:lnTo>
                  <a:lnTo>
                    <a:pt x="339" y="15"/>
                  </a:lnTo>
                  <a:lnTo>
                    <a:pt x="327" y="12"/>
                  </a:lnTo>
                  <a:lnTo>
                    <a:pt x="315" y="8"/>
                  </a:lnTo>
                  <a:lnTo>
                    <a:pt x="302" y="5"/>
                  </a:lnTo>
                  <a:lnTo>
                    <a:pt x="290" y="3"/>
                  </a:lnTo>
                  <a:lnTo>
                    <a:pt x="277" y="1"/>
                  </a:lnTo>
                  <a:lnTo>
                    <a:pt x="265" y="1"/>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26"/>
            <p:cNvSpPr>
              <a:spLocks noEditPoints="1"/>
            </p:cNvSpPr>
            <p:nvPr/>
          </p:nvSpPr>
          <p:spPr bwMode="auto">
            <a:xfrm>
              <a:off x="4734718" y="2925365"/>
              <a:ext cx="114300" cy="114300"/>
            </a:xfrm>
            <a:custGeom>
              <a:avLst/>
              <a:gdLst>
                <a:gd name="T0" fmla="*/ 122 w 288"/>
                <a:gd name="T1" fmla="*/ 250 h 288"/>
                <a:gd name="T2" fmla="*/ 93 w 288"/>
                <a:gd name="T3" fmla="*/ 239 h 288"/>
                <a:gd name="T4" fmla="*/ 68 w 288"/>
                <a:gd name="T5" fmla="*/ 220 h 288"/>
                <a:gd name="T6" fmla="*/ 50 w 288"/>
                <a:gd name="T7" fmla="*/ 195 h 288"/>
                <a:gd name="T8" fmla="*/ 38 w 288"/>
                <a:gd name="T9" fmla="*/ 166 h 288"/>
                <a:gd name="T10" fmla="*/ 37 w 288"/>
                <a:gd name="T11" fmla="*/ 132 h 288"/>
                <a:gd name="T12" fmla="*/ 44 w 288"/>
                <a:gd name="T13" fmla="*/ 102 h 288"/>
                <a:gd name="T14" fmla="*/ 60 w 288"/>
                <a:gd name="T15" fmla="*/ 75 h 288"/>
                <a:gd name="T16" fmla="*/ 84 w 288"/>
                <a:gd name="T17" fmla="*/ 55 h 288"/>
                <a:gd name="T18" fmla="*/ 112 w 288"/>
                <a:gd name="T19" fmla="*/ 41 h 288"/>
                <a:gd name="T20" fmla="*/ 144 w 288"/>
                <a:gd name="T21" fmla="*/ 36 h 288"/>
                <a:gd name="T22" fmla="*/ 176 w 288"/>
                <a:gd name="T23" fmla="*/ 41 h 288"/>
                <a:gd name="T24" fmla="*/ 204 w 288"/>
                <a:gd name="T25" fmla="*/ 55 h 288"/>
                <a:gd name="T26" fmla="*/ 228 w 288"/>
                <a:gd name="T27" fmla="*/ 75 h 288"/>
                <a:gd name="T28" fmla="*/ 244 w 288"/>
                <a:gd name="T29" fmla="*/ 102 h 288"/>
                <a:gd name="T30" fmla="*/ 252 w 288"/>
                <a:gd name="T31" fmla="*/ 132 h 288"/>
                <a:gd name="T32" fmla="*/ 249 w 288"/>
                <a:gd name="T33" fmla="*/ 166 h 288"/>
                <a:gd name="T34" fmla="*/ 239 w 288"/>
                <a:gd name="T35" fmla="*/ 195 h 288"/>
                <a:gd name="T36" fmla="*/ 220 w 288"/>
                <a:gd name="T37" fmla="*/ 220 h 288"/>
                <a:gd name="T38" fmla="*/ 195 w 288"/>
                <a:gd name="T39" fmla="*/ 239 h 288"/>
                <a:gd name="T40" fmla="*/ 166 w 288"/>
                <a:gd name="T41" fmla="*/ 250 h 288"/>
                <a:gd name="T42" fmla="*/ 144 w 288"/>
                <a:gd name="T43" fmla="*/ 252 h 288"/>
                <a:gd name="T44" fmla="*/ 115 w 288"/>
                <a:gd name="T45" fmla="*/ 3 h 288"/>
                <a:gd name="T46" fmla="*/ 76 w 288"/>
                <a:gd name="T47" fmla="*/ 17 h 288"/>
                <a:gd name="T48" fmla="*/ 42 w 288"/>
                <a:gd name="T49" fmla="*/ 42 h 288"/>
                <a:gd name="T50" fmla="*/ 17 w 288"/>
                <a:gd name="T51" fmla="*/ 75 h 288"/>
                <a:gd name="T52" fmla="*/ 3 w 288"/>
                <a:gd name="T53" fmla="*/ 115 h 288"/>
                <a:gd name="T54" fmla="*/ 1 w 288"/>
                <a:gd name="T55" fmla="*/ 158 h 288"/>
                <a:gd name="T56" fmla="*/ 12 w 288"/>
                <a:gd name="T57" fmla="*/ 201 h 288"/>
                <a:gd name="T58" fmla="*/ 33 w 288"/>
                <a:gd name="T59" fmla="*/ 235 h 288"/>
                <a:gd name="T60" fmla="*/ 64 w 288"/>
                <a:gd name="T61" fmla="*/ 263 h 288"/>
                <a:gd name="T62" fmla="*/ 101 w 288"/>
                <a:gd name="T63" fmla="*/ 282 h 288"/>
                <a:gd name="T64" fmla="*/ 144 w 288"/>
                <a:gd name="T65" fmla="*/ 288 h 288"/>
                <a:gd name="T66" fmla="*/ 187 w 288"/>
                <a:gd name="T67" fmla="*/ 282 h 288"/>
                <a:gd name="T68" fmla="*/ 225 w 288"/>
                <a:gd name="T69" fmla="*/ 263 h 288"/>
                <a:gd name="T70" fmla="*/ 255 w 288"/>
                <a:gd name="T71" fmla="*/ 235 h 288"/>
                <a:gd name="T72" fmla="*/ 276 w 288"/>
                <a:gd name="T73" fmla="*/ 201 h 288"/>
                <a:gd name="T74" fmla="*/ 287 w 288"/>
                <a:gd name="T75" fmla="*/ 158 h 288"/>
                <a:gd name="T76" fmla="*/ 285 w 288"/>
                <a:gd name="T77" fmla="*/ 115 h 288"/>
                <a:gd name="T78" fmla="*/ 271 w 288"/>
                <a:gd name="T79" fmla="*/ 75 h 288"/>
                <a:gd name="T80" fmla="*/ 246 w 288"/>
                <a:gd name="T81" fmla="*/ 42 h 288"/>
                <a:gd name="T82" fmla="*/ 213 w 288"/>
                <a:gd name="T83" fmla="*/ 17 h 288"/>
                <a:gd name="T84" fmla="*/ 173 w 288"/>
                <a:gd name="T85" fmla="*/ 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8" h="288">
                  <a:moveTo>
                    <a:pt x="144" y="252"/>
                  </a:moveTo>
                  <a:lnTo>
                    <a:pt x="133" y="251"/>
                  </a:lnTo>
                  <a:lnTo>
                    <a:pt x="122" y="250"/>
                  </a:lnTo>
                  <a:lnTo>
                    <a:pt x="112" y="247"/>
                  </a:lnTo>
                  <a:lnTo>
                    <a:pt x="103" y="244"/>
                  </a:lnTo>
                  <a:lnTo>
                    <a:pt x="93" y="239"/>
                  </a:lnTo>
                  <a:lnTo>
                    <a:pt x="84" y="234"/>
                  </a:lnTo>
                  <a:lnTo>
                    <a:pt x="76" y="228"/>
                  </a:lnTo>
                  <a:lnTo>
                    <a:pt x="68" y="220"/>
                  </a:lnTo>
                  <a:lnTo>
                    <a:pt x="60" y="212"/>
                  </a:lnTo>
                  <a:lnTo>
                    <a:pt x="55" y="205"/>
                  </a:lnTo>
                  <a:lnTo>
                    <a:pt x="50" y="195"/>
                  </a:lnTo>
                  <a:lnTo>
                    <a:pt x="44" y="186"/>
                  </a:lnTo>
                  <a:lnTo>
                    <a:pt x="41" y="176"/>
                  </a:lnTo>
                  <a:lnTo>
                    <a:pt x="38" y="166"/>
                  </a:lnTo>
                  <a:lnTo>
                    <a:pt x="37" y="155"/>
                  </a:lnTo>
                  <a:lnTo>
                    <a:pt x="36" y="144"/>
                  </a:lnTo>
                  <a:lnTo>
                    <a:pt x="37" y="132"/>
                  </a:lnTo>
                  <a:lnTo>
                    <a:pt x="38" y="122"/>
                  </a:lnTo>
                  <a:lnTo>
                    <a:pt x="41" y="112"/>
                  </a:lnTo>
                  <a:lnTo>
                    <a:pt x="44" y="102"/>
                  </a:lnTo>
                  <a:lnTo>
                    <a:pt x="50" y="93"/>
                  </a:lnTo>
                  <a:lnTo>
                    <a:pt x="55" y="84"/>
                  </a:lnTo>
                  <a:lnTo>
                    <a:pt x="60" y="75"/>
                  </a:lnTo>
                  <a:lnTo>
                    <a:pt x="68" y="68"/>
                  </a:lnTo>
                  <a:lnTo>
                    <a:pt x="76" y="60"/>
                  </a:lnTo>
                  <a:lnTo>
                    <a:pt x="84" y="55"/>
                  </a:lnTo>
                  <a:lnTo>
                    <a:pt x="93" y="49"/>
                  </a:lnTo>
                  <a:lnTo>
                    <a:pt x="103" y="44"/>
                  </a:lnTo>
                  <a:lnTo>
                    <a:pt x="112" y="41"/>
                  </a:lnTo>
                  <a:lnTo>
                    <a:pt x="122" y="39"/>
                  </a:lnTo>
                  <a:lnTo>
                    <a:pt x="133" y="36"/>
                  </a:lnTo>
                  <a:lnTo>
                    <a:pt x="144" y="36"/>
                  </a:lnTo>
                  <a:lnTo>
                    <a:pt x="155" y="36"/>
                  </a:lnTo>
                  <a:lnTo>
                    <a:pt x="166" y="39"/>
                  </a:lnTo>
                  <a:lnTo>
                    <a:pt x="176" y="41"/>
                  </a:lnTo>
                  <a:lnTo>
                    <a:pt x="186" y="44"/>
                  </a:lnTo>
                  <a:lnTo>
                    <a:pt x="195" y="49"/>
                  </a:lnTo>
                  <a:lnTo>
                    <a:pt x="204" y="55"/>
                  </a:lnTo>
                  <a:lnTo>
                    <a:pt x="213" y="60"/>
                  </a:lnTo>
                  <a:lnTo>
                    <a:pt x="220" y="68"/>
                  </a:lnTo>
                  <a:lnTo>
                    <a:pt x="228" y="75"/>
                  </a:lnTo>
                  <a:lnTo>
                    <a:pt x="233" y="84"/>
                  </a:lnTo>
                  <a:lnTo>
                    <a:pt x="239" y="93"/>
                  </a:lnTo>
                  <a:lnTo>
                    <a:pt x="244" y="102"/>
                  </a:lnTo>
                  <a:lnTo>
                    <a:pt x="247" y="112"/>
                  </a:lnTo>
                  <a:lnTo>
                    <a:pt x="249" y="122"/>
                  </a:lnTo>
                  <a:lnTo>
                    <a:pt x="252" y="132"/>
                  </a:lnTo>
                  <a:lnTo>
                    <a:pt x="252" y="144"/>
                  </a:lnTo>
                  <a:lnTo>
                    <a:pt x="252" y="155"/>
                  </a:lnTo>
                  <a:lnTo>
                    <a:pt x="249" y="166"/>
                  </a:lnTo>
                  <a:lnTo>
                    <a:pt x="247" y="176"/>
                  </a:lnTo>
                  <a:lnTo>
                    <a:pt x="244" y="186"/>
                  </a:lnTo>
                  <a:lnTo>
                    <a:pt x="239" y="195"/>
                  </a:lnTo>
                  <a:lnTo>
                    <a:pt x="233" y="205"/>
                  </a:lnTo>
                  <a:lnTo>
                    <a:pt x="228" y="212"/>
                  </a:lnTo>
                  <a:lnTo>
                    <a:pt x="220" y="220"/>
                  </a:lnTo>
                  <a:lnTo>
                    <a:pt x="213" y="228"/>
                  </a:lnTo>
                  <a:lnTo>
                    <a:pt x="204" y="234"/>
                  </a:lnTo>
                  <a:lnTo>
                    <a:pt x="195" y="239"/>
                  </a:lnTo>
                  <a:lnTo>
                    <a:pt x="186" y="244"/>
                  </a:lnTo>
                  <a:lnTo>
                    <a:pt x="176" y="247"/>
                  </a:lnTo>
                  <a:lnTo>
                    <a:pt x="166" y="250"/>
                  </a:lnTo>
                  <a:lnTo>
                    <a:pt x="155" y="251"/>
                  </a:lnTo>
                  <a:lnTo>
                    <a:pt x="144" y="252"/>
                  </a:lnTo>
                  <a:lnTo>
                    <a:pt x="144" y="252"/>
                  </a:lnTo>
                  <a:close/>
                  <a:moveTo>
                    <a:pt x="144" y="0"/>
                  </a:moveTo>
                  <a:lnTo>
                    <a:pt x="130" y="1"/>
                  </a:lnTo>
                  <a:lnTo>
                    <a:pt x="115" y="3"/>
                  </a:lnTo>
                  <a:lnTo>
                    <a:pt x="101" y="6"/>
                  </a:lnTo>
                  <a:lnTo>
                    <a:pt x="88" y="12"/>
                  </a:lnTo>
                  <a:lnTo>
                    <a:pt x="76" y="17"/>
                  </a:lnTo>
                  <a:lnTo>
                    <a:pt x="64" y="24"/>
                  </a:lnTo>
                  <a:lnTo>
                    <a:pt x="53" y="33"/>
                  </a:lnTo>
                  <a:lnTo>
                    <a:pt x="42" y="42"/>
                  </a:lnTo>
                  <a:lnTo>
                    <a:pt x="33" y="53"/>
                  </a:lnTo>
                  <a:lnTo>
                    <a:pt x="25" y="63"/>
                  </a:lnTo>
                  <a:lnTo>
                    <a:pt x="17" y="75"/>
                  </a:lnTo>
                  <a:lnTo>
                    <a:pt x="12" y="88"/>
                  </a:lnTo>
                  <a:lnTo>
                    <a:pt x="6" y="101"/>
                  </a:lnTo>
                  <a:lnTo>
                    <a:pt x="3" y="115"/>
                  </a:lnTo>
                  <a:lnTo>
                    <a:pt x="1" y="129"/>
                  </a:lnTo>
                  <a:lnTo>
                    <a:pt x="0" y="144"/>
                  </a:lnTo>
                  <a:lnTo>
                    <a:pt x="1" y="158"/>
                  </a:lnTo>
                  <a:lnTo>
                    <a:pt x="3" y="174"/>
                  </a:lnTo>
                  <a:lnTo>
                    <a:pt x="6" y="186"/>
                  </a:lnTo>
                  <a:lnTo>
                    <a:pt x="12" y="201"/>
                  </a:lnTo>
                  <a:lnTo>
                    <a:pt x="17" y="212"/>
                  </a:lnTo>
                  <a:lnTo>
                    <a:pt x="25" y="224"/>
                  </a:lnTo>
                  <a:lnTo>
                    <a:pt x="33" y="235"/>
                  </a:lnTo>
                  <a:lnTo>
                    <a:pt x="42" y="246"/>
                  </a:lnTo>
                  <a:lnTo>
                    <a:pt x="53" y="256"/>
                  </a:lnTo>
                  <a:lnTo>
                    <a:pt x="64" y="263"/>
                  </a:lnTo>
                  <a:lnTo>
                    <a:pt x="76" y="271"/>
                  </a:lnTo>
                  <a:lnTo>
                    <a:pt x="88" y="276"/>
                  </a:lnTo>
                  <a:lnTo>
                    <a:pt x="101" y="282"/>
                  </a:lnTo>
                  <a:lnTo>
                    <a:pt x="115" y="285"/>
                  </a:lnTo>
                  <a:lnTo>
                    <a:pt x="130" y="287"/>
                  </a:lnTo>
                  <a:lnTo>
                    <a:pt x="144" y="288"/>
                  </a:lnTo>
                  <a:lnTo>
                    <a:pt x="159" y="287"/>
                  </a:lnTo>
                  <a:lnTo>
                    <a:pt x="173" y="285"/>
                  </a:lnTo>
                  <a:lnTo>
                    <a:pt x="187" y="282"/>
                  </a:lnTo>
                  <a:lnTo>
                    <a:pt x="200" y="276"/>
                  </a:lnTo>
                  <a:lnTo>
                    <a:pt x="213" y="271"/>
                  </a:lnTo>
                  <a:lnTo>
                    <a:pt x="225" y="263"/>
                  </a:lnTo>
                  <a:lnTo>
                    <a:pt x="235" y="256"/>
                  </a:lnTo>
                  <a:lnTo>
                    <a:pt x="246" y="246"/>
                  </a:lnTo>
                  <a:lnTo>
                    <a:pt x="255" y="235"/>
                  </a:lnTo>
                  <a:lnTo>
                    <a:pt x="263" y="224"/>
                  </a:lnTo>
                  <a:lnTo>
                    <a:pt x="271" y="212"/>
                  </a:lnTo>
                  <a:lnTo>
                    <a:pt x="276" y="201"/>
                  </a:lnTo>
                  <a:lnTo>
                    <a:pt x="282" y="186"/>
                  </a:lnTo>
                  <a:lnTo>
                    <a:pt x="285" y="174"/>
                  </a:lnTo>
                  <a:lnTo>
                    <a:pt x="287" y="158"/>
                  </a:lnTo>
                  <a:lnTo>
                    <a:pt x="288" y="144"/>
                  </a:lnTo>
                  <a:lnTo>
                    <a:pt x="287" y="129"/>
                  </a:lnTo>
                  <a:lnTo>
                    <a:pt x="285" y="115"/>
                  </a:lnTo>
                  <a:lnTo>
                    <a:pt x="282" y="101"/>
                  </a:lnTo>
                  <a:lnTo>
                    <a:pt x="276" y="88"/>
                  </a:lnTo>
                  <a:lnTo>
                    <a:pt x="271" y="75"/>
                  </a:lnTo>
                  <a:lnTo>
                    <a:pt x="263" y="63"/>
                  </a:lnTo>
                  <a:lnTo>
                    <a:pt x="255" y="53"/>
                  </a:lnTo>
                  <a:lnTo>
                    <a:pt x="246" y="42"/>
                  </a:lnTo>
                  <a:lnTo>
                    <a:pt x="235" y="33"/>
                  </a:lnTo>
                  <a:lnTo>
                    <a:pt x="225" y="24"/>
                  </a:lnTo>
                  <a:lnTo>
                    <a:pt x="213" y="17"/>
                  </a:lnTo>
                  <a:lnTo>
                    <a:pt x="200" y="12"/>
                  </a:lnTo>
                  <a:lnTo>
                    <a:pt x="187" y="6"/>
                  </a:lnTo>
                  <a:lnTo>
                    <a:pt x="173" y="3"/>
                  </a:lnTo>
                  <a:lnTo>
                    <a:pt x="159" y="1"/>
                  </a:lnTo>
                  <a:lnTo>
                    <a:pt x="1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 name="Group 30"/>
          <p:cNvGrpSpPr/>
          <p:nvPr/>
        </p:nvGrpSpPr>
        <p:grpSpPr>
          <a:xfrm>
            <a:off x="5208433" y="3379260"/>
            <a:ext cx="457200" cy="457200"/>
            <a:chOff x="3648868" y="2753915"/>
            <a:chExt cx="457200" cy="457200"/>
          </a:xfrm>
          <a:solidFill>
            <a:schemeClr val="bg1"/>
          </a:solidFill>
        </p:grpSpPr>
        <p:sp>
          <p:nvSpPr>
            <p:cNvPr id="32" name="Freeform 127"/>
            <p:cNvSpPr>
              <a:spLocks noEditPoints="1"/>
            </p:cNvSpPr>
            <p:nvPr/>
          </p:nvSpPr>
          <p:spPr bwMode="auto">
            <a:xfrm>
              <a:off x="3648868" y="2753915"/>
              <a:ext cx="457200" cy="457200"/>
            </a:xfrm>
            <a:custGeom>
              <a:avLst/>
              <a:gdLst>
                <a:gd name="T0" fmla="*/ 630 w 1152"/>
                <a:gd name="T1" fmla="*/ 780 h 1152"/>
                <a:gd name="T2" fmla="*/ 534 w 1152"/>
                <a:gd name="T3" fmla="*/ 739 h 1152"/>
                <a:gd name="T4" fmla="*/ 454 w 1152"/>
                <a:gd name="T5" fmla="*/ 674 h 1152"/>
                <a:gd name="T6" fmla="*/ 395 w 1152"/>
                <a:gd name="T7" fmla="*/ 588 h 1152"/>
                <a:gd name="T8" fmla="*/ 364 w 1152"/>
                <a:gd name="T9" fmla="*/ 487 h 1152"/>
                <a:gd name="T10" fmla="*/ 364 w 1152"/>
                <a:gd name="T11" fmla="*/ 378 h 1152"/>
                <a:gd name="T12" fmla="*/ 395 w 1152"/>
                <a:gd name="T13" fmla="*/ 276 h 1152"/>
                <a:gd name="T14" fmla="*/ 454 w 1152"/>
                <a:gd name="T15" fmla="*/ 190 h 1152"/>
                <a:gd name="T16" fmla="*/ 534 w 1152"/>
                <a:gd name="T17" fmla="*/ 124 h 1152"/>
                <a:gd name="T18" fmla="*/ 630 w 1152"/>
                <a:gd name="T19" fmla="*/ 83 h 1152"/>
                <a:gd name="T20" fmla="*/ 739 w 1152"/>
                <a:gd name="T21" fmla="*/ 72 h 1152"/>
                <a:gd name="T22" fmla="*/ 844 w 1152"/>
                <a:gd name="T23" fmla="*/ 94 h 1152"/>
                <a:gd name="T24" fmla="*/ 936 w 1152"/>
                <a:gd name="T25" fmla="*/ 143 h 1152"/>
                <a:gd name="T26" fmla="*/ 1009 w 1152"/>
                <a:gd name="T27" fmla="*/ 217 h 1152"/>
                <a:gd name="T28" fmla="*/ 1059 w 1152"/>
                <a:gd name="T29" fmla="*/ 309 h 1152"/>
                <a:gd name="T30" fmla="*/ 1079 w 1152"/>
                <a:gd name="T31" fmla="*/ 413 h 1152"/>
                <a:gd name="T32" fmla="*/ 1068 w 1152"/>
                <a:gd name="T33" fmla="*/ 522 h 1152"/>
                <a:gd name="T34" fmla="*/ 1028 w 1152"/>
                <a:gd name="T35" fmla="*/ 618 h 1152"/>
                <a:gd name="T36" fmla="*/ 963 w 1152"/>
                <a:gd name="T37" fmla="*/ 698 h 1152"/>
                <a:gd name="T38" fmla="*/ 876 w 1152"/>
                <a:gd name="T39" fmla="*/ 757 h 1152"/>
                <a:gd name="T40" fmla="*/ 775 w 1152"/>
                <a:gd name="T41" fmla="*/ 788 h 1152"/>
                <a:gd name="T42" fmla="*/ 163 w 1152"/>
                <a:gd name="T43" fmla="*/ 1077 h 1152"/>
                <a:gd name="T44" fmla="*/ 127 w 1152"/>
                <a:gd name="T45" fmla="*/ 1088 h 1152"/>
                <a:gd name="T46" fmla="*/ 92 w 1152"/>
                <a:gd name="T47" fmla="*/ 1077 h 1152"/>
                <a:gd name="T48" fmla="*/ 68 w 1152"/>
                <a:gd name="T49" fmla="*/ 1049 h 1152"/>
                <a:gd name="T50" fmla="*/ 65 w 1152"/>
                <a:gd name="T51" fmla="*/ 1012 h 1152"/>
                <a:gd name="T52" fmla="*/ 83 w 1152"/>
                <a:gd name="T53" fmla="*/ 979 h 1152"/>
                <a:gd name="T54" fmla="*/ 415 w 1152"/>
                <a:gd name="T55" fmla="*/ 737 h 1152"/>
                <a:gd name="T56" fmla="*/ 719 w 1152"/>
                <a:gd name="T57" fmla="*/ 0 h 1152"/>
                <a:gd name="T58" fmla="*/ 592 w 1152"/>
                <a:gd name="T59" fmla="*/ 19 h 1152"/>
                <a:gd name="T60" fmla="*/ 479 w 1152"/>
                <a:gd name="T61" fmla="*/ 74 h 1152"/>
                <a:gd name="T62" fmla="*/ 387 w 1152"/>
                <a:gd name="T63" fmla="*/ 157 h 1152"/>
                <a:gd name="T64" fmla="*/ 322 w 1152"/>
                <a:gd name="T65" fmla="*/ 264 h 1152"/>
                <a:gd name="T66" fmla="*/ 291 w 1152"/>
                <a:gd name="T67" fmla="*/ 387 h 1152"/>
                <a:gd name="T68" fmla="*/ 302 w 1152"/>
                <a:gd name="T69" fmla="*/ 537 h 1152"/>
                <a:gd name="T70" fmla="*/ 38 w 1152"/>
                <a:gd name="T71" fmla="*/ 934 h 1152"/>
                <a:gd name="T72" fmla="*/ 2 w 1152"/>
                <a:gd name="T73" fmla="*/ 999 h 1152"/>
                <a:gd name="T74" fmla="*/ 10 w 1152"/>
                <a:gd name="T75" fmla="*/ 1074 h 1152"/>
                <a:gd name="T76" fmla="*/ 56 w 1152"/>
                <a:gd name="T77" fmla="*/ 1130 h 1152"/>
                <a:gd name="T78" fmla="*/ 127 w 1152"/>
                <a:gd name="T79" fmla="*/ 1152 h 1152"/>
                <a:gd name="T80" fmla="*/ 199 w 1152"/>
                <a:gd name="T81" fmla="*/ 1129 h 1152"/>
                <a:gd name="T82" fmla="*/ 565 w 1152"/>
                <a:gd name="T83" fmla="*/ 834 h 1152"/>
                <a:gd name="T84" fmla="*/ 719 w 1152"/>
                <a:gd name="T85" fmla="*/ 864 h 1152"/>
                <a:gd name="T86" fmla="*/ 848 w 1152"/>
                <a:gd name="T87" fmla="*/ 844 h 1152"/>
                <a:gd name="T88" fmla="*/ 961 w 1152"/>
                <a:gd name="T89" fmla="*/ 790 h 1152"/>
                <a:gd name="T90" fmla="*/ 1053 w 1152"/>
                <a:gd name="T91" fmla="*/ 707 h 1152"/>
                <a:gd name="T92" fmla="*/ 1118 w 1152"/>
                <a:gd name="T93" fmla="*/ 600 h 1152"/>
                <a:gd name="T94" fmla="*/ 1149 w 1152"/>
                <a:gd name="T95" fmla="*/ 476 h 1152"/>
                <a:gd name="T96" fmla="*/ 1143 w 1152"/>
                <a:gd name="T97" fmla="*/ 345 h 1152"/>
                <a:gd name="T98" fmla="*/ 1100 w 1152"/>
                <a:gd name="T99" fmla="*/ 226 h 1152"/>
                <a:gd name="T100" fmla="*/ 1025 w 1152"/>
                <a:gd name="T101" fmla="*/ 126 h 1152"/>
                <a:gd name="T102" fmla="*/ 926 w 1152"/>
                <a:gd name="T103" fmla="*/ 53 h 1152"/>
                <a:gd name="T104" fmla="*/ 807 w 1152"/>
                <a:gd name="T105" fmla="*/ 8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52" h="1152">
                  <a:moveTo>
                    <a:pt x="719" y="792"/>
                  </a:moveTo>
                  <a:lnTo>
                    <a:pt x="701" y="791"/>
                  </a:lnTo>
                  <a:lnTo>
                    <a:pt x="683" y="790"/>
                  </a:lnTo>
                  <a:lnTo>
                    <a:pt x="665" y="788"/>
                  </a:lnTo>
                  <a:lnTo>
                    <a:pt x="647" y="785"/>
                  </a:lnTo>
                  <a:lnTo>
                    <a:pt x="630" y="780"/>
                  </a:lnTo>
                  <a:lnTo>
                    <a:pt x="613" y="776"/>
                  </a:lnTo>
                  <a:lnTo>
                    <a:pt x="596" y="770"/>
                  </a:lnTo>
                  <a:lnTo>
                    <a:pt x="580" y="763"/>
                  </a:lnTo>
                  <a:lnTo>
                    <a:pt x="564" y="757"/>
                  </a:lnTo>
                  <a:lnTo>
                    <a:pt x="549" y="748"/>
                  </a:lnTo>
                  <a:lnTo>
                    <a:pt x="534" y="739"/>
                  </a:lnTo>
                  <a:lnTo>
                    <a:pt x="519" y="731"/>
                  </a:lnTo>
                  <a:lnTo>
                    <a:pt x="505" y="720"/>
                  </a:lnTo>
                  <a:lnTo>
                    <a:pt x="491" y="709"/>
                  </a:lnTo>
                  <a:lnTo>
                    <a:pt x="478" y="698"/>
                  </a:lnTo>
                  <a:lnTo>
                    <a:pt x="466" y="687"/>
                  </a:lnTo>
                  <a:lnTo>
                    <a:pt x="454" y="674"/>
                  </a:lnTo>
                  <a:lnTo>
                    <a:pt x="442" y="661"/>
                  </a:lnTo>
                  <a:lnTo>
                    <a:pt x="431" y="648"/>
                  </a:lnTo>
                  <a:lnTo>
                    <a:pt x="421" y="634"/>
                  </a:lnTo>
                  <a:lnTo>
                    <a:pt x="412" y="618"/>
                  </a:lnTo>
                  <a:lnTo>
                    <a:pt x="403" y="603"/>
                  </a:lnTo>
                  <a:lnTo>
                    <a:pt x="395" y="588"/>
                  </a:lnTo>
                  <a:lnTo>
                    <a:pt x="388" y="572"/>
                  </a:lnTo>
                  <a:lnTo>
                    <a:pt x="381" y="556"/>
                  </a:lnTo>
                  <a:lnTo>
                    <a:pt x="376" y="539"/>
                  </a:lnTo>
                  <a:lnTo>
                    <a:pt x="372" y="522"/>
                  </a:lnTo>
                  <a:lnTo>
                    <a:pt x="367" y="504"/>
                  </a:lnTo>
                  <a:lnTo>
                    <a:pt x="364" y="487"/>
                  </a:lnTo>
                  <a:lnTo>
                    <a:pt x="362" y="468"/>
                  </a:lnTo>
                  <a:lnTo>
                    <a:pt x="361" y="450"/>
                  </a:lnTo>
                  <a:lnTo>
                    <a:pt x="360" y="432"/>
                  </a:lnTo>
                  <a:lnTo>
                    <a:pt x="361" y="413"/>
                  </a:lnTo>
                  <a:lnTo>
                    <a:pt x="362" y="395"/>
                  </a:lnTo>
                  <a:lnTo>
                    <a:pt x="364" y="378"/>
                  </a:lnTo>
                  <a:lnTo>
                    <a:pt x="367" y="359"/>
                  </a:lnTo>
                  <a:lnTo>
                    <a:pt x="372" y="342"/>
                  </a:lnTo>
                  <a:lnTo>
                    <a:pt x="376" y="325"/>
                  </a:lnTo>
                  <a:lnTo>
                    <a:pt x="381" y="309"/>
                  </a:lnTo>
                  <a:lnTo>
                    <a:pt x="388" y="292"/>
                  </a:lnTo>
                  <a:lnTo>
                    <a:pt x="395" y="276"/>
                  </a:lnTo>
                  <a:lnTo>
                    <a:pt x="403" y="260"/>
                  </a:lnTo>
                  <a:lnTo>
                    <a:pt x="412" y="245"/>
                  </a:lnTo>
                  <a:lnTo>
                    <a:pt x="421" y="231"/>
                  </a:lnTo>
                  <a:lnTo>
                    <a:pt x="431" y="217"/>
                  </a:lnTo>
                  <a:lnTo>
                    <a:pt x="442" y="203"/>
                  </a:lnTo>
                  <a:lnTo>
                    <a:pt x="454" y="190"/>
                  </a:lnTo>
                  <a:lnTo>
                    <a:pt x="466" y="178"/>
                  </a:lnTo>
                  <a:lnTo>
                    <a:pt x="478" y="166"/>
                  </a:lnTo>
                  <a:lnTo>
                    <a:pt x="491" y="154"/>
                  </a:lnTo>
                  <a:lnTo>
                    <a:pt x="505" y="143"/>
                  </a:lnTo>
                  <a:lnTo>
                    <a:pt x="519" y="134"/>
                  </a:lnTo>
                  <a:lnTo>
                    <a:pt x="534" y="124"/>
                  </a:lnTo>
                  <a:lnTo>
                    <a:pt x="549" y="115"/>
                  </a:lnTo>
                  <a:lnTo>
                    <a:pt x="564" y="108"/>
                  </a:lnTo>
                  <a:lnTo>
                    <a:pt x="580" y="100"/>
                  </a:lnTo>
                  <a:lnTo>
                    <a:pt x="596" y="94"/>
                  </a:lnTo>
                  <a:lnTo>
                    <a:pt x="613" y="88"/>
                  </a:lnTo>
                  <a:lnTo>
                    <a:pt x="630" y="83"/>
                  </a:lnTo>
                  <a:lnTo>
                    <a:pt x="647" y="80"/>
                  </a:lnTo>
                  <a:lnTo>
                    <a:pt x="665" y="76"/>
                  </a:lnTo>
                  <a:lnTo>
                    <a:pt x="683" y="74"/>
                  </a:lnTo>
                  <a:lnTo>
                    <a:pt x="701" y="72"/>
                  </a:lnTo>
                  <a:lnTo>
                    <a:pt x="719" y="72"/>
                  </a:lnTo>
                  <a:lnTo>
                    <a:pt x="739" y="72"/>
                  </a:lnTo>
                  <a:lnTo>
                    <a:pt x="757" y="74"/>
                  </a:lnTo>
                  <a:lnTo>
                    <a:pt x="775" y="76"/>
                  </a:lnTo>
                  <a:lnTo>
                    <a:pt x="793" y="80"/>
                  </a:lnTo>
                  <a:lnTo>
                    <a:pt x="810" y="83"/>
                  </a:lnTo>
                  <a:lnTo>
                    <a:pt x="827" y="88"/>
                  </a:lnTo>
                  <a:lnTo>
                    <a:pt x="844" y="94"/>
                  </a:lnTo>
                  <a:lnTo>
                    <a:pt x="860" y="100"/>
                  </a:lnTo>
                  <a:lnTo>
                    <a:pt x="876" y="108"/>
                  </a:lnTo>
                  <a:lnTo>
                    <a:pt x="891" y="115"/>
                  </a:lnTo>
                  <a:lnTo>
                    <a:pt x="906" y="124"/>
                  </a:lnTo>
                  <a:lnTo>
                    <a:pt x="921" y="134"/>
                  </a:lnTo>
                  <a:lnTo>
                    <a:pt x="936" y="143"/>
                  </a:lnTo>
                  <a:lnTo>
                    <a:pt x="948" y="154"/>
                  </a:lnTo>
                  <a:lnTo>
                    <a:pt x="963" y="166"/>
                  </a:lnTo>
                  <a:lnTo>
                    <a:pt x="974" y="178"/>
                  </a:lnTo>
                  <a:lnTo>
                    <a:pt x="986" y="190"/>
                  </a:lnTo>
                  <a:lnTo>
                    <a:pt x="998" y="203"/>
                  </a:lnTo>
                  <a:lnTo>
                    <a:pt x="1009" y="217"/>
                  </a:lnTo>
                  <a:lnTo>
                    <a:pt x="1019" y="231"/>
                  </a:lnTo>
                  <a:lnTo>
                    <a:pt x="1028" y="245"/>
                  </a:lnTo>
                  <a:lnTo>
                    <a:pt x="1037" y="260"/>
                  </a:lnTo>
                  <a:lnTo>
                    <a:pt x="1045" y="276"/>
                  </a:lnTo>
                  <a:lnTo>
                    <a:pt x="1052" y="292"/>
                  </a:lnTo>
                  <a:lnTo>
                    <a:pt x="1059" y="309"/>
                  </a:lnTo>
                  <a:lnTo>
                    <a:pt x="1064" y="325"/>
                  </a:lnTo>
                  <a:lnTo>
                    <a:pt x="1068" y="342"/>
                  </a:lnTo>
                  <a:lnTo>
                    <a:pt x="1073" y="359"/>
                  </a:lnTo>
                  <a:lnTo>
                    <a:pt x="1076" y="378"/>
                  </a:lnTo>
                  <a:lnTo>
                    <a:pt x="1078" y="395"/>
                  </a:lnTo>
                  <a:lnTo>
                    <a:pt x="1079" y="413"/>
                  </a:lnTo>
                  <a:lnTo>
                    <a:pt x="1080" y="432"/>
                  </a:lnTo>
                  <a:lnTo>
                    <a:pt x="1079" y="450"/>
                  </a:lnTo>
                  <a:lnTo>
                    <a:pt x="1078" y="468"/>
                  </a:lnTo>
                  <a:lnTo>
                    <a:pt x="1076" y="487"/>
                  </a:lnTo>
                  <a:lnTo>
                    <a:pt x="1073" y="504"/>
                  </a:lnTo>
                  <a:lnTo>
                    <a:pt x="1068" y="522"/>
                  </a:lnTo>
                  <a:lnTo>
                    <a:pt x="1064" y="539"/>
                  </a:lnTo>
                  <a:lnTo>
                    <a:pt x="1059" y="556"/>
                  </a:lnTo>
                  <a:lnTo>
                    <a:pt x="1052" y="572"/>
                  </a:lnTo>
                  <a:lnTo>
                    <a:pt x="1045" y="588"/>
                  </a:lnTo>
                  <a:lnTo>
                    <a:pt x="1037" y="603"/>
                  </a:lnTo>
                  <a:lnTo>
                    <a:pt x="1028" y="618"/>
                  </a:lnTo>
                  <a:lnTo>
                    <a:pt x="1019" y="634"/>
                  </a:lnTo>
                  <a:lnTo>
                    <a:pt x="1009" y="648"/>
                  </a:lnTo>
                  <a:lnTo>
                    <a:pt x="998" y="661"/>
                  </a:lnTo>
                  <a:lnTo>
                    <a:pt x="986" y="674"/>
                  </a:lnTo>
                  <a:lnTo>
                    <a:pt x="974" y="687"/>
                  </a:lnTo>
                  <a:lnTo>
                    <a:pt x="963" y="698"/>
                  </a:lnTo>
                  <a:lnTo>
                    <a:pt x="948" y="709"/>
                  </a:lnTo>
                  <a:lnTo>
                    <a:pt x="936" y="720"/>
                  </a:lnTo>
                  <a:lnTo>
                    <a:pt x="921" y="731"/>
                  </a:lnTo>
                  <a:lnTo>
                    <a:pt x="906" y="739"/>
                  </a:lnTo>
                  <a:lnTo>
                    <a:pt x="891" y="748"/>
                  </a:lnTo>
                  <a:lnTo>
                    <a:pt x="876" y="757"/>
                  </a:lnTo>
                  <a:lnTo>
                    <a:pt x="860" y="763"/>
                  </a:lnTo>
                  <a:lnTo>
                    <a:pt x="844" y="770"/>
                  </a:lnTo>
                  <a:lnTo>
                    <a:pt x="827" y="776"/>
                  </a:lnTo>
                  <a:lnTo>
                    <a:pt x="810" y="780"/>
                  </a:lnTo>
                  <a:lnTo>
                    <a:pt x="793" y="785"/>
                  </a:lnTo>
                  <a:lnTo>
                    <a:pt x="775" y="788"/>
                  </a:lnTo>
                  <a:lnTo>
                    <a:pt x="757" y="790"/>
                  </a:lnTo>
                  <a:lnTo>
                    <a:pt x="739" y="791"/>
                  </a:lnTo>
                  <a:lnTo>
                    <a:pt x="719" y="792"/>
                  </a:lnTo>
                  <a:close/>
                  <a:moveTo>
                    <a:pt x="173" y="1069"/>
                  </a:moveTo>
                  <a:lnTo>
                    <a:pt x="168" y="1073"/>
                  </a:lnTo>
                  <a:lnTo>
                    <a:pt x="163" y="1077"/>
                  </a:lnTo>
                  <a:lnTo>
                    <a:pt x="158" y="1081"/>
                  </a:lnTo>
                  <a:lnTo>
                    <a:pt x="152" y="1083"/>
                  </a:lnTo>
                  <a:lnTo>
                    <a:pt x="146" y="1085"/>
                  </a:lnTo>
                  <a:lnTo>
                    <a:pt x="141" y="1087"/>
                  </a:lnTo>
                  <a:lnTo>
                    <a:pt x="134" y="1088"/>
                  </a:lnTo>
                  <a:lnTo>
                    <a:pt x="127" y="1088"/>
                  </a:lnTo>
                  <a:lnTo>
                    <a:pt x="120" y="1088"/>
                  </a:lnTo>
                  <a:lnTo>
                    <a:pt x="115" y="1087"/>
                  </a:lnTo>
                  <a:lnTo>
                    <a:pt x="108" y="1085"/>
                  </a:lnTo>
                  <a:lnTo>
                    <a:pt x="103" y="1083"/>
                  </a:lnTo>
                  <a:lnTo>
                    <a:pt x="96" y="1081"/>
                  </a:lnTo>
                  <a:lnTo>
                    <a:pt x="92" y="1077"/>
                  </a:lnTo>
                  <a:lnTo>
                    <a:pt x="87" y="1074"/>
                  </a:lnTo>
                  <a:lnTo>
                    <a:pt x="82" y="1070"/>
                  </a:lnTo>
                  <a:lnTo>
                    <a:pt x="78" y="1066"/>
                  </a:lnTo>
                  <a:lnTo>
                    <a:pt x="75" y="1060"/>
                  </a:lnTo>
                  <a:lnTo>
                    <a:pt x="71" y="1055"/>
                  </a:lnTo>
                  <a:lnTo>
                    <a:pt x="68" y="1049"/>
                  </a:lnTo>
                  <a:lnTo>
                    <a:pt x="66" y="1044"/>
                  </a:lnTo>
                  <a:lnTo>
                    <a:pt x="65" y="1038"/>
                  </a:lnTo>
                  <a:lnTo>
                    <a:pt x="64" y="1031"/>
                  </a:lnTo>
                  <a:lnTo>
                    <a:pt x="64" y="1025"/>
                  </a:lnTo>
                  <a:lnTo>
                    <a:pt x="64" y="1018"/>
                  </a:lnTo>
                  <a:lnTo>
                    <a:pt x="65" y="1012"/>
                  </a:lnTo>
                  <a:lnTo>
                    <a:pt x="66" y="1006"/>
                  </a:lnTo>
                  <a:lnTo>
                    <a:pt x="69" y="1000"/>
                  </a:lnTo>
                  <a:lnTo>
                    <a:pt x="71" y="994"/>
                  </a:lnTo>
                  <a:lnTo>
                    <a:pt x="75" y="989"/>
                  </a:lnTo>
                  <a:lnTo>
                    <a:pt x="79" y="984"/>
                  </a:lnTo>
                  <a:lnTo>
                    <a:pt x="83" y="979"/>
                  </a:lnTo>
                  <a:lnTo>
                    <a:pt x="82" y="979"/>
                  </a:lnTo>
                  <a:lnTo>
                    <a:pt x="373" y="689"/>
                  </a:lnTo>
                  <a:lnTo>
                    <a:pt x="383" y="702"/>
                  </a:lnTo>
                  <a:lnTo>
                    <a:pt x="393" y="714"/>
                  </a:lnTo>
                  <a:lnTo>
                    <a:pt x="404" y="725"/>
                  </a:lnTo>
                  <a:lnTo>
                    <a:pt x="415" y="737"/>
                  </a:lnTo>
                  <a:lnTo>
                    <a:pt x="426" y="748"/>
                  </a:lnTo>
                  <a:lnTo>
                    <a:pt x="438" y="759"/>
                  </a:lnTo>
                  <a:lnTo>
                    <a:pt x="451" y="769"/>
                  </a:lnTo>
                  <a:lnTo>
                    <a:pt x="462" y="778"/>
                  </a:lnTo>
                  <a:lnTo>
                    <a:pt x="173" y="1069"/>
                  </a:lnTo>
                  <a:close/>
                  <a:moveTo>
                    <a:pt x="719" y="0"/>
                  </a:moveTo>
                  <a:lnTo>
                    <a:pt x="698" y="1"/>
                  </a:lnTo>
                  <a:lnTo>
                    <a:pt x="676" y="2"/>
                  </a:lnTo>
                  <a:lnTo>
                    <a:pt x="655" y="5"/>
                  </a:lnTo>
                  <a:lnTo>
                    <a:pt x="633" y="8"/>
                  </a:lnTo>
                  <a:lnTo>
                    <a:pt x="611" y="14"/>
                  </a:lnTo>
                  <a:lnTo>
                    <a:pt x="592" y="19"/>
                  </a:lnTo>
                  <a:lnTo>
                    <a:pt x="572" y="27"/>
                  </a:lnTo>
                  <a:lnTo>
                    <a:pt x="552" y="34"/>
                  </a:lnTo>
                  <a:lnTo>
                    <a:pt x="533" y="43"/>
                  </a:lnTo>
                  <a:lnTo>
                    <a:pt x="514" y="53"/>
                  </a:lnTo>
                  <a:lnTo>
                    <a:pt x="496" y="62"/>
                  </a:lnTo>
                  <a:lnTo>
                    <a:pt x="479" y="74"/>
                  </a:lnTo>
                  <a:lnTo>
                    <a:pt x="461" y="86"/>
                  </a:lnTo>
                  <a:lnTo>
                    <a:pt x="445" y="99"/>
                  </a:lnTo>
                  <a:lnTo>
                    <a:pt x="430" y="112"/>
                  </a:lnTo>
                  <a:lnTo>
                    <a:pt x="415" y="126"/>
                  </a:lnTo>
                  <a:lnTo>
                    <a:pt x="400" y="141"/>
                  </a:lnTo>
                  <a:lnTo>
                    <a:pt x="387" y="157"/>
                  </a:lnTo>
                  <a:lnTo>
                    <a:pt x="374" y="174"/>
                  </a:lnTo>
                  <a:lnTo>
                    <a:pt x="362" y="191"/>
                  </a:lnTo>
                  <a:lnTo>
                    <a:pt x="350" y="208"/>
                  </a:lnTo>
                  <a:lnTo>
                    <a:pt x="340" y="226"/>
                  </a:lnTo>
                  <a:lnTo>
                    <a:pt x="331" y="245"/>
                  </a:lnTo>
                  <a:lnTo>
                    <a:pt x="322" y="264"/>
                  </a:lnTo>
                  <a:lnTo>
                    <a:pt x="314" y="284"/>
                  </a:lnTo>
                  <a:lnTo>
                    <a:pt x="307" y="303"/>
                  </a:lnTo>
                  <a:lnTo>
                    <a:pt x="302" y="324"/>
                  </a:lnTo>
                  <a:lnTo>
                    <a:pt x="297" y="345"/>
                  </a:lnTo>
                  <a:lnTo>
                    <a:pt x="293" y="366"/>
                  </a:lnTo>
                  <a:lnTo>
                    <a:pt x="291" y="387"/>
                  </a:lnTo>
                  <a:lnTo>
                    <a:pt x="289" y="410"/>
                  </a:lnTo>
                  <a:lnTo>
                    <a:pt x="287" y="432"/>
                  </a:lnTo>
                  <a:lnTo>
                    <a:pt x="289" y="459"/>
                  </a:lnTo>
                  <a:lnTo>
                    <a:pt x="292" y="486"/>
                  </a:lnTo>
                  <a:lnTo>
                    <a:pt x="295" y="512"/>
                  </a:lnTo>
                  <a:lnTo>
                    <a:pt x="302" y="537"/>
                  </a:lnTo>
                  <a:lnTo>
                    <a:pt x="308" y="562"/>
                  </a:lnTo>
                  <a:lnTo>
                    <a:pt x="317" y="587"/>
                  </a:lnTo>
                  <a:lnTo>
                    <a:pt x="326" y="611"/>
                  </a:lnTo>
                  <a:lnTo>
                    <a:pt x="338" y="634"/>
                  </a:lnTo>
                  <a:lnTo>
                    <a:pt x="38" y="934"/>
                  </a:lnTo>
                  <a:lnTo>
                    <a:pt x="38" y="934"/>
                  </a:lnTo>
                  <a:lnTo>
                    <a:pt x="29" y="944"/>
                  </a:lnTo>
                  <a:lnTo>
                    <a:pt x="22" y="953"/>
                  </a:lnTo>
                  <a:lnTo>
                    <a:pt x="15" y="964"/>
                  </a:lnTo>
                  <a:lnTo>
                    <a:pt x="10" y="975"/>
                  </a:lnTo>
                  <a:lnTo>
                    <a:pt x="6" y="987"/>
                  </a:lnTo>
                  <a:lnTo>
                    <a:pt x="2" y="999"/>
                  </a:lnTo>
                  <a:lnTo>
                    <a:pt x="0" y="1012"/>
                  </a:lnTo>
                  <a:lnTo>
                    <a:pt x="0" y="1025"/>
                  </a:lnTo>
                  <a:lnTo>
                    <a:pt x="0" y="1038"/>
                  </a:lnTo>
                  <a:lnTo>
                    <a:pt x="2" y="1050"/>
                  </a:lnTo>
                  <a:lnTo>
                    <a:pt x="6" y="1062"/>
                  </a:lnTo>
                  <a:lnTo>
                    <a:pt x="10" y="1074"/>
                  </a:lnTo>
                  <a:lnTo>
                    <a:pt x="15" y="1085"/>
                  </a:lnTo>
                  <a:lnTo>
                    <a:pt x="22" y="1096"/>
                  </a:lnTo>
                  <a:lnTo>
                    <a:pt x="29" y="1106"/>
                  </a:lnTo>
                  <a:lnTo>
                    <a:pt x="37" y="1114"/>
                  </a:lnTo>
                  <a:lnTo>
                    <a:pt x="47" y="1123"/>
                  </a:lnTo>
                  <a:lnTo>
                    <a:pt x="56" y="1130"/>
                  </a:lnTo>
                  <a:lnTo>
                    <a:pt x="66" y="1137"/>
                  </a:lnTo>
                  <a:lnTo>
                    <a:pt x="78" y="1142"/>
                  </a:lnTo>
                  <a:lnTo>
                    <a:pt x="89" y="1147"/>
                  </a:lnTo>
                  <a:lnTo>
                    <a:pt x="102" y="1150"/>
                  </a:lnTo>
                  <a:lnTo>
                    <a:pt x="114" y="1151"/>
                  </a:lnTo>
                  <a:lnTo>
                    <a:pt x="127" y="1152"/>
                  </a:lnTo>
                  <a:lnTo>
                    <a:pt x="141" y="1151"/>
                  </a:lnTo>
                  <a:lnTo>
                    <a:pt x="152" y="1149"/>
                  </a:lnTo>
                  <a:lnTo>
                    <a:pt x="165" y="1147"/>
                  </a:lnTo>
                  <a:lnTo>
                    <a:pt x="177" y="1141"/>
                  </a:lnTo>
                  <a:lnTo>
                    <a:pt x="188" y="1136"/>
                  </a:lnTo>
                  <a:lnTo>
                    <a:pt x="199" y="1129"/>
                  </a:lnTo>
                  <a:lnTo>
                    <a:pt x="209" y="1122"/>
                  </a:lnTo>
                  <a:lnTo>
                    <a:pt x="217" y="1114"/>
                  </a:lnTo>
                  <a:lnTo>
                    <a:pt x="217" y="1114"/>
                  </a:lnTo>
                  <a:lnTo>
                    <a:pt x="518" y="814"/>
                  </a:lnTo>
                  <a:lnTo>
                    <a:pt x="541" y="825"/>
                  </a:lnTo>
                  <a:lnTo>
                    <a:pt x="565" y="834"/>
                  </a:lnTo>
                  <a:lnTo>
                    <a:pt x="589" y="843"/>
                  </a:lnTo>
                  <a:lnTo>
                    <a:pt x="614" y="851"/>
                  </a:lnTo>
                  <a:lnTo>
                    <a:pt x="640" y="856"/>
                  </a:lnTo>
                  <a:lnTo>
                    <a:pt x="667" y="860"/>
                  </a:lnTo>
                  <a:lnTo>
                    <a:pt x="692" y="864"/>
                  </a:lnTo>
                  <a:lnTo>
                    <a:pt x="719" y="864"/>
                  </a:lnTo>
                  <a:lnTo>
                    <a:pt x="742" y="864"/>
                  </a:lnTo>
                  <a:lnTo>
                    <a:pt x="764" y="861"/>
                  </a:lnTo>
                  <a:lnTo>
                    <a:pt x="785" y="859"/>
                  </a:lnTo>
                  <a:lnTo>
                    <a:pt x="807" y="855"/>
                  </a:lnTo>
                  <a:lnTo>
                    <a:pt x="827" y="851"/>
                  </a:lnTo>
                  <a:lnTo>
                    <a:pt x="848" y="844"/>
                  </a:lnTo>
                  <a:lnTo>
                    <a:pt x="869" y="838"/>
                  </a:lnTo>
                  <a:lnTo>
                    <a:pt x="888" y="830"/>
                  </a:lnTo>
                  <a:lnTo>
                    <a:pt x="907" y="822"/>
                  </a:lnTo>
                  <a:lnTo>
                    <a:pt x="926" y="812"/>
                  </a:lnTo>
                  <a:lnTo>
                    <a:pt x="944" y="801"/>
                  </a:lnTo>
                  <a:lnTo>
                    <a:pt x="961" y="790"/>
                  </a:lnTo>
                  <a:lnTo>
                    <a:pt x="979" y="778"/>
                  </a:lnTo>
                  <a:lnTo>
                    <a:pt x="995" y="765"/>
                  </a:lnTo>
                  <a:lnTo>
                    <a:pt x="1010" y="751"/>
                  </a:lnTo>
                  <a:lnTo>
                    <a:pt x="1025" y="737"/>
                  </a:lnTo>
                  <a:lnTo>
                    <a:pt x="1040" y="722"/>
                  </a:lnTo>
                  <a:lnTo>
                    <a:pt x="1053" y="707"/>
                  </a:lnTo>
                  <a:lnTo>
                    <a:pt x="1066" y="691"/>
                  </a:lnTo>
                  <a:lnTo>
                    <a:pt x="1078" y="674"/>
                  </a:lnTo>
                  <a:lnTo>
                    <a:pt x="1090" y="656"/>
                  </a:lnTo>
                  <a:lnTo>
                    <a:pt x="1100" y="638"/>
                  </a:lnTo>
                  <a:lnTo>
                    <a:pt x="1109" y="620"/>
                  </a:lnTo>
                  <a:lnTo>
                    <a:pt x="1118" y="600"/>
                  </a:lnTo>
                  <a:lnTo>
                    <a:pt x="1126" y="581"/>
                  </a:lnTo>
                  <a:lnTo>
                    <a:pt x="1132" y="560"/>
                  </a:lnTo>
                  <a:lnTo>
                    <a:pt x="1139" y="540"/>
                  </a:lnTo>
                  <a:lnTo>
                    <a:pt x="1143" y="519"/>
                  </a:lnTo>
                  <a:lnTo>
                    <a:pt x="1147" y="498"/>
                  </a:lnTo>
                  <a:lnTo>
                    <a:pt x="1149" y="476"/>
                  </a:lnTo>
                  <a:lnTo>
                    <a:pt x="1152" y="454"/>
                  </a:lnTo>
                  <a:lnTo>
                    <a:pt x="1152" y="432"/>
                  </a:lnTo>
                  <a:lnTo>
                    <a:pt x="1152" y="410"/>
                  </a:lnTo>
                  <a:lnTo>
                    <a:pt x="1149" y="387"/>
                  </a:lnTo>
                  <a:lnTo>
                    <a:pt x="1147" y="366"/>
                  </a:lnTo>
                  <a:lnTo>
                    <a:pt x="1143" y="345"/>
                  </a:lnTo>
                  <a:lnTo>
                    <a:pt x="1139" y="324"/>
                  </a:lnTo>
                  <a:lnTo>
                    <a:pt x="1132" y="303"/>
                  </a:lnTo>
                  <a:lnTo>
                    <a:pt x="1126" y="284"/>
                  </a:lnTo>
                  <a:lnTo>
                    <a:pt x="1118" y="264"/>
                  </a:lnTo>
                  <a:lnTo>
                    <a:pt x="1109" y="245"/>
                  </a:lnTo>
                  <a:lnTo>
                    <a:pt x="1100" y="226"/>
                  </a:lnTo>
                  <a:lnTo>
                    <a:pt x="1090" y="208"/>
                  </a:lnTo>
                  <a:lnTo>
                    <a:pt x="1078" y="191"/>
                  </a:lnTo>
                  <a:lnTo>
                    <a:pt x="1066" y="174"/>
                  </a:lnTo>
                  <a:lnTo>
                    <a:pt x="1053" y="157"/>
                  </a:lnTo>
                  <a:lnTo>
                    <a:pt x="1040" y="141"/>
                  </a:lnTo>
                  <a:lnTo>
                    <a:pt x="1025" y="126"/>
                  </a:lnTo>
                  <a:lnTo>
                    <a:pt x="1010" y="112"/>
                  </a:lnTo>
                  <a:lnTo>
                    <a:pt x="995" y="99"/>
                  </a:lnTo>
                  <a:lnTo>
                    <a:pt x="979" y="86"/>
                  </a:lnTo>
                  <a:lnTo>
                    <a:pt x="961" y="74"/>
                  </a:lnTo>
                  <a:lnTo>
                    <a:pt x="944" y="62"/>
                  </a:lnTo>
                  <a:lnTo>
                    <a:pt x="926" y="53"/>
                  </a:lnTo>
                  <a:lnTo>
                    <a:pt x="907" y="43"/>
                  </a:lnTo>
                  <a:lnTo>
                    <a:pt x="888" y="34"/>
                  </a:lnTo>
                  <a:lnTo>
                    <a:pt x="869" y="27"/>
                  </a:lnTo>
                  <a:lnTo>
                    <a:pt x="848" y="19"/>
                  </a:lnTo>
                  <a:lnTo>
                    <a:pt x="827" y="14"/>
                  </a:lnTo>
                  <a:lnTo>
                    <a:pt x="807" y="8"/>
                  </a:lnTo>
                  <a:lnTo>
                    <a:pt x="785" y="5"/>
                  </a:lnTo>
                  <a:lnTo>
                    <a:pt x="764" y="2"/>
                  </a:lnTo>
                  <a:lnTo>
                    <a:pt x="742" y="1"/>
                  </a:lnTo>
                  <a:lnTo>
                    <a:pt x="7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28"/>
            <p:cNvSpPr>
              <a:spLocks/>
            </p:cNvSpPr>
            <p:nvPr/>
          </p:nvSpPr>
          <p:spPr bwMode="auto">
            <a:xfrm>
              <a:off x="3834606" y="2825353"/>
              <a:ext cx="106363" cy="107950"/>
            </a:xfrm>
            <a:custGeom>
              <a:avLst/>
              <a:gdLst>
                <a:gd name="T0" fmla="*/ 239 w 270"/>
                <a:gd name="T1" fmla="*/ 0 h 270"/>
                <a:gd name="T2" fmla="*/ 214 w 270"/>
                <a:gd name="T3" fmla="*/ 3 h 270"/>
                <a:gd name="T4" fmla="*/ 189 w 270"/>
                <a:gd name="T5" fmla="*/ 8 h 270"/>
                <a:gd name="T6" fmla="*/ 165 w 270"/>
                <a:gd name="T7" fmla="*/ 15 h 270"/>
                <a:gd name="T8" fmla="*/ 142 w 270"/>
                <a:gd name="T9" fmla="*/ 25 h 270"/>
                <a:gd name="T10" fmla="*/ 121 w 270"/>
                <a:gd name="T11" fmla="*/ 37 h 270"/>
                <a:gd name="T12" fmla="*/ 101 w 270"/>
                <a:gd name="T13" fmla="*/ 50 h 270"/>
                <a:gd name="T14" fmla="*/ 83 w 270"/>
                <a:gd name="T15" fmla="*/ 66 h 270"/>
                <a:gd name="T16" fmla="*/ 66 w 270"/>
                <a:gd name="T17" fmla="*/ 82 h 270"/>
                <a:gd name="T18" fmla="*/ 50 w 270"/>
                <a:gd name="T19" fmla="*/ 102 h 270"/>
                <a:gd name="T20" fmla="*/ 37 w 270"/>
                <a:gd name="T21" fmla="*/ 121 h 270"/>
                <a:gd name="T22" fmla="*/ 25 w 270"/>
                <a:gd name="T23" fmla="*/ 143 h 270"/>
                <a:gd name="T24" fmla="*/ 15 w 270"/>
                <a:gd name="T25" fmla="*/ 165 h 270"/>
                <a:gd name="T26" fmla="*/ 7 w 270"/>
                <a:gd name="T27" fmla="*/ 189 h 270"/>
                <a:gd name="T28" fmla="*/ 3 w 270"/>
                <a:gd name="T29" fmla="*/ 214 h 270"/>
                <a:gd name="T30" fmla="*/ 0 w 270"/>
                <a:gd name="T31" fmla="*/ 239 h 270"/>
                <a:gd name="T32" fmla="*/ 0 w 270"/>
                <a:gd name="T33" fmla="*/ 256 h 270"/>
                <a:gd name="T34" fmla="*/ 3 w 270"/>
                <a:gd name="T35" fmla="*/ 262 h 270"/>
                <a:gd name="T36" fmla="*/ 7 w 270"/>
                <a:gd name="T37" fmla="*/ 267 h 270"/>
                <a:gd name="T38" fmla="*/ 14 w 270"/>
                <a:gd name="T39" fmla="*/ 270 h 270"/>
                <a:gd name="T40" fmla="*/ 21 w 270"/>
                <a:gd name="T41" fmla="*/ 270 h 270"/>
                <a:gd name="T42" fmla="*/ 28 w 270"/>
                <a:gd name="T43" fmla="*/ 267 h 270"/>
                <a:gd name="T44" fmla="*/ 33 w 270"/>
                <a:gd name="T45" fmla="*/ 262 h 270"/>
                <a:gd name="T46" fmla="*/ 35 w 270"/>
                <a:gd name="T47" fmla="*/ 256 h 270"/>
                <a:gd name="T48" fmla="*/ 37 w 270"/>
                <a:gd name="T49" fmla="*/ 241 h 270"/>
                <a:gd name="T50" fmla="*/ 39 w 270"/>
                <a:gd name="T51" fmla="*/ 219 h 270"/>
                <a:gd name="T52" fmla="*/ 45 w 270"/>
                <a:gd name="T53" fmla="*/ 188 h 270"/>
                <a:gd name="T54" fmla="*/ 62 w 270"/>
                <a:gd name="T55" fmla="*/ 149 h 270"/>
                <a:gd name="T56" fmla="*/ 85 w 270"/>
                <a:gd name="T57" fmla="*/ 114 h 270"/>
                <a:gd name="T58" fmla="*/ 114 w 270"/>
                <a:gd name="T59" fmla="*/ 85 h 270"/>
                <a:gd name="T60" fmla="*/ 149 w 270"/>
                <a:gd name="T61" fmla="*/ 62 h 270"/>
                <a:gd name="T62" fmla="*/ 188 w 270"/>
                <a:gd name="T63" fmla="*/ 45 h 270"/>
                <a:gd name="T64" fmla="*/ 219 w 270"/>
                <a:gd name="T65" fmla="*/ 39 h 270"/>
                <a:gd name="T66" fmla="*/ 241 w 270"/>
                <a:gd name="T67" fmla="*/ 37 h 270"/>
                <a:gd name="T68" fmla="*/ 256 w 270"/>
                <a:gd name="T69" fmla="*/ 36 h 270"/>
                <a:gd name="T70" fmla="*/ 262 w 270"/>
                <a:gd name="T71" fmla="*/ 32 h 270"/>
                <a:gd name="T72" fmla="*/ 267 w 270"/>
                <a:gd name="T73" fmla="*/ 28 h 270"/>
                <a:gd name="T74" fmla="*/ 270 w 270"/>
                <a:gd name="T75" fmla="*/ 22 h 270"/>
                <a:gd name="T76" fmla="*/ 270 w 270"/>
                <a:gd name="T77" fmla="*/ 14 h 270"/>
                <a:gd name="T78" fmla="*/ 267 w 270"/>
                <a:gd name="T79" fmla="*/ 8 h 270"/>
                <a:gd name="T80" fmla="*/ 262 w 270"/>
                <a:gd name="T81" fmla="*/ 3 h 270"/>
                <a:gd name="T82" fmla="*/ 256 w 270"/>
                <a:gd name="T8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0" h="270">
                  <a:moveTo>
                    <a:pt x="251" y="0"/>
                  </a:moveTo>
                  <a:lnTo>
                    <a:pt x="239" y="0"/>
                  </a:lnTo>
                  <a:lnTo>
                    <a:pt x="227" y="1"/>
                  </a:lnTo>
                  <a:lnTo>
                    <a:pt x="214" y="3"/>
                  </a:lnTo>
                  <a:lnTo>
                    <a:pt x="201" y="5"/>
                  </a:lnTo>
                  <a:lnTo>
                    <a:pt x="189" y="8"/>
                  </a:lnTo>
                  <a:lnTo>
                    <a:pt x="177" y="11"/>
                  </a:lnTo>
                  <a:lnTo>
                    <a:pt x="165" y="15"/>
                  </a:lnTo>
                  <a:lnTo>
                    <a:pt x="154" y="19"/>
                  </a:lnTo>
                  <a:lnTo>
                    <a:pt x="142" y="25"/>
                  </a:lnTo>
                  <a:lnTo>
                    <a:pt x="132" y="30"/>
                  </a:lnTo>
                  <a:lnTo>
                    <a:pt x="121" y="37"/>
                  </a:lnTo>
                  <a:lnTo>
                    <a:pt x="111" y="43"/>
                  </a:lnTo>
                  <a:lnTo>
                    <a:pt x="101" y="50"/>
                  </a:lnTo>
                  <a:lnTo>
                    <a:pt x="92" y="57"/>
                  </a:lnTo>
                  <a:lnTo>
                    <a:pt x="83" y="66"/>
                  </a:lnTo>
                  <a:lnTo>
                    <a:pt x="73" y="73"/>
                  </a:lnTo>
                  <a:lnTo>
                    <a:pt x="66" y="82"/>
                  </a:lnTo>
                  <a:lnTo>
                    <a:pt x="57" y="92"/>
                  </a:lnTo>
                  <a:lnTo>
                    <a:pt x="50" y="102"/>
                  </a:lnTo>
                  <a:lnTo>
                    <a:pt x="43" y="111"/>
                  </a:lnTo>
                  <a:lnTo>
                    <a:pt x="37" y="121"/>
                  </a:lnTo>
                  <a:lnTo>
                    <a:pt x="30" y="132"/>
                  </a:lnTo>
                  <a:lnTo>
                    <a:pt x="25" y="143"/>
                  </a:lnTo>
                  <a:lnTo>
                    <a:pt x="19" y="153"/>
                  </a:lnTo>
                  <a:lnTo>
                    <a:pt x="15" y="165"/>
                  </a:lnTo>
                  <a:lnTo>
                    <a:pt x="12" y="177"/>
                  </a:lnTo>
                  <a:lnTo>
                    <a:pt x="7" y="189"/>
                  </a:lnTo>
                  <a:lnTo>
                    <a:pt x="5" y="201"/>
                  </a:lnTo>
                  <a:lnTo>
                    <a:pt x="3" y="214"/>
                  </a:lnTo>
                  <a:lnTo>
                    <a:pt x="1" y="226"/>
                  </a:lnTo>
                  <a:lnTo>
                    <a:pt x="0" y="239"/>
                  </a:lnTo>
                  <a:lnTo>
                    <a:pt x="0" y="252"/>
                  </a:lnTo>
                  <a:lnTo>
                    <a:pt x="0" y="256"/>
                  </a:lnTo>
                  <a:lnTo>
                    <a:pt x="1" y="259"/>
                  </a:lnTo>
                  <a:lnTo>
                    <a:pt x="3" y="262"/>
                  </a:lnTo>
                  <a:lnTo>
                    <a:pt x="5" y="265"/>
                  </a:lnTo>
                  <a:lnTo>
                    <a:pt x="7" y="267"/>
                  </a:lnTo>
                  <a:lnTo>
                    <a:pt x="11" y="269"/>
                  </a:lnTo>
                  <a:lnTo>
                    <a:pt x="14" y="270"/>
                  </a:lnTo>
                  <a:lnTo>
                    <a:pt x="18" y="270"/>
                  </a:lnTo>
                  <a:lnTo>
                    <a:pt x="21" y="270"/>
                  </a:lnTo>
                  <a:lnTo>
                    <a:pt x="25" y="269"/>
                  </a:lnTo>
                  <a:lnTo>
                    <a:pt x="28" y="267"/>
                  </a:lnTo>
                  <a:lnTo>
                    <a:pt x="31" y="265"/>
                  </a:lnTo>
                  <a:lnTo>
                    <a:pt x="33" y="262"/>
                  </a:lnTo>
                  <a:lnTo>
                    <a:pt x="34" y="259"/>
                  </a:lnTo>
                  <a:lnTo>
                    <a:pt x="35" y="256"/>
                  </a:lnTo>
                  <a:lnTo>
                    <a:pt x="35" y="252"/>
                  </a:lnTo>
                  <a:lnTo>
                    <a:pt x="37" y="241"/>
                  </a:lnTo>
                  <a:lnTo>
                    <a:pt x="37" y="230"/>
                  </a:lnTo>
                  <a:lnTo>
                    <a:pt x="39" y="219"/>
                  </a:lnTo>
                  <a:lnTo>
                    <a:pt x="41" y="208"/>
                  </a:lnTo>
                  <a:lnTo>
                    <a:pt x="45" y="188"/>
                  </a:lnTo>
                  <a:lnTo>
                    <a:pt x="53" y="167"/>
                  </a:lnTo>
                  <a:lnTo>
                    <a:pt x="62" y="149"/>
                  </a:lnTo>
                  <a:lnTo>
                    <a:pt x="73" y="131"/>
                  </a:lnTo>
                  <a:lnTo>
                    <a:pt x="85" y="114"/>
                  </a:lnTo>
                  <a:lnTo>
                    <a:pt x="99" y="99"/>
                  </a:lnTo>
                  <a:lnTo>
                    <a:pt x="114" y="85"/>
                  </a:lnTo>
                  <a:lnTo>
                    <a:pt x="132" y="72"/>
                  </a:lnTo>
                  <a:lnTo>
                    <a:pt x="149" y="62"/>
                  </a:lnTo>
                  <a:lnTo>
                    <a:pt x="168" y="53"/>
                  </a:lnTo>
                  <a:lnTo>
                    <a:pt x="188" y="45"/>
                  </a:lnTo>
                  <a:lnTo>
                    <a:pt x="208" y="40"/>
                  </a:lnTo>
                  <a:lnTo>
                    <a:pt x="219" y="39"/>
                  </a:lnTo>
                  <a:lnTo>
                    <a:pt x="230" y="37"/>
                  </a:lnTo>
                  <a:lnTo>
                    <a:pt x="241" y="37"/>
                  </a:lnTo>
                  <a:lnTo>
                    <a:pt x="251" y="36"/>
                  </a:lnTo>
                  <a:lnTo>
                    <a:pt x="256" y="36"/>
                  </a:lnTo>
                  <a:lnTo>
                    <a:pt x="259" y="35"/>
                  </a:lnTo>
                  <a:lnTo>
                    <a:pt x="262" y="32"/>
                  </a:lnTo>
                  <a:lnTo>
                    <a:pt x="264" y="30"/>
                  </a:lnTo>
                  <a:lnTo>
                    <a:pt x="267" y="28"/>
                  </a:lnTo>
                  <a:lnTo>
                    <a:pt x="269" y="25"/>
                  </a:lnTo>
                  <a:lnTo>
                    <a:pt x="270" y="22"/>
                  </a:lnTo>
                  <a:lnTo>
                    <a:pt x="270" y="18"/>
                  </a:lnTo>
                  <a:lnTo>
                    <a:pt x="270" y="14"/>
                  </a:lnTo>
                  <a:lnTo>
                    <a:pt x="269" y="11"/>
                  </a:lnTo>
                  <a:lnTo>
                    <a:pt x="267" y="8"/>
                  </a:lnTo>
                  <a:lnTo>
                    <a:pt x="264" y="5"/>
                  </a:lnTo>
                  <a:lnTo>
                    <a:pt x="262" y="3"/>
                  </a:lnTo>
                  <a:lnTo>
                    <a:pt x="259" y="1"/>
                  </a:lnTo>
                  <a:lnTo>
                    <a:pt x="256" y="0"/>
                  </a:lnTo>
                  <a:lnTo>
                    <a:pt x="2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60982603"/>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ECD629-4DA5-4EAE-B174-69948CAAE2CE}" type="slidenum">
              <a:rPr lang="en-US" smtClean="0"/>
              <a:pPr/>
              <a:t>5</a:t>
            </a:fld>
            <a:endParaRPr lang="en-US" dirty="0"/>
          </a:p>
        </p:txBody>
      </p:sp>
      <p:sp>
        <p:nvSpPr>
          <p:cNvPr id="58" name="Title 11"/>
          <p:cNvSpPr txBox="1">
            <a:spLocks/>
          </p:cNvSpPr>
          <p:nvPr/>
        </p:nvSpPr>
        <p:spPr>
          <a:xfrm>
            <a:off x="423300" y="1011823"/>
            <a:ext cx="3436056" cy="37574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400" dirty="0">
                <a:solidFill>
                  <a:schemeClr val="tx1">
                    <a:lumMod val="90000"/>
                    <a:lumOff val="10000"/>
                  </a:schemeClr>
                </a:solidFill>
                <a:latin typeface="Open Sans Light" panose="020B0306030504020204" pitchFamily="34" charset="0"/>
                <a:ea typeface="Open Sans Light" panose="020B0306030504020204" pitchFamily="34" charset="0"/>
                <a:cs typeface="Open Sans Light" panose="020B0306030504020204" pitchFamily="34" charset="0"/>
              </a:rPr>
              <a:t>Insert Your Creative Idea </a:t>
            </a:r>
          </a:p>
        </p:txBody>
      </p:sp>
      <p:sp>
        <p:nvSpPr>
          <p:cNvPr id="59" name="Title 11"/>
          <p:cNvSpPr txBox="1">
            <a:spLocks/>
          </p:cNvSpPr>
          <p:nvPr/>
        </p:nvSpPr>
        <p:spPr>
          <a:xfrm>
            <a:off x="423303" y="443389"/>
            <a:ext cx="10783960" cy="646331"/>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b="1" spc="-300" dirty="0">
                <a:solidFill>
                  <a:schemeClr val="tx1">
                    <a:lumMod val="90000"/>
                    <a:lumOff val="10000"/>
                  </a:schemeClr>
                </a:solidFill>
                <a:latin typeface="Arial" panose="020B0604020202020204" pitchFamily="34" charset="0"/>
                <a:ea typeface="Roboto Light" panose="02000000000000000000" pitchFamily="2" charset="0"/>
                <a:cs typeface="Open Sans Light" panose="020B0306030504020204" pitchFamily="34" charset="0"/>
              </a:rPr>
              <a:t>Infographic </a:t>
            </a:r>
          </a:p>
        </p:txBody>
      </p:sp>
      <p:grpSp>
        <p:nvGrpSpPr>
          <p:cNvPr id="52" name="Group 51"/>
          <p:cNvGrpSpPr/>
          <p:nvPr/>
        </p:nvGrpSpPr>
        <p:grpSpPr>
          <a:xfrm>
            <a:off x="855818" y="2330143"/>
            <a:ext cx="3980908" cy="3635556"/>
            <a:chOff x="1898650" y="1520825"/>
            <a:chExt cx="4378998" cy="3999112"/>
          </a:xfrm>
        </p:grpSpPr>
        <p:sp>
          <p:nvSpPr>
            <p:cNvPr id="53" name="Freeform 119"/>
            <p:cNvSpPr>
              <a:spLocks/>
            </p:cNvSpPr>
            <p:nvPr/>
          </p:nvSpPr>
          <p:spPr bwMode="auto">
            <a:xfrm>
              <a:off x="2670625" y="3827335"/>
              <a:ext cx="3607023" cy="1692602"/>
            </a:xfrm>
            <a:custGeom>
              <a:avLst/>
              <a:gdLst>
                <a:gd name="T0" fmla="*/ 0 w 2250"/>
                <a:gd name="T1" fmla="*/ 312 h 970"/>
                <a:gd name="T2" fmla="*/ 1651 w 2250"/>
                <a:gd name="T3" fmla="*/ 970 h 970"/>
                <a:gd name="T4" fmla="*/ 2250 w 2250"/>
                <a:gd name="T5" fmla="*/ 654 h 970"/>
                <a:gd name="T6" fmla="*/ 601 w 2250"/>
                <a:gd name="T7" fmla="*/ 0 h 970"/>
                <a:gd name="T8" fmla="*/ 0 w 2250"/>
                <a:gd name="T9" fmla="*/ 312 h 970"/>
                <a:gd name="connsiteX0" fmla="*/ 0 w 10000"/>
                <a:gd name="connsiteY0" fmla="*/ 2953 h 9737"/>
                <a:gd name="connsiteX1" fmla="*/ 7338 w 10000"/>
                <a:gd name="connsiteY1" fmla="*/ 9737 h 9737"/>
                <a:gd name="connsiteX2" fmla="*/ 10000 w 10000"/>
                <a:gd name="connsiteY2" fmla="*/ 6479 h 9737"/>
                <a:gd name="connsiteX3" fmla="*/ 2539 w 10000"/>
                <a:gd name="connsiteY3" fmla="*/ 0 h 9737"/>
                <a:gd name="connsiteX4" fmla="*/ 0 w 10000"/>
                <a:gd name="connsiteY4" fmla="*/ 2953 h 9737"/>
                <a:gd name="connsiteX0" fmla="*/ 0 w 9844"/>
                <a:gd name="connsiteY0" fmla="*/ 3115 h 10000"/>
                <a:gd name="connsiteX1" fmla="*/ 7182 w 9844"/>
                <a:gd name="connsiteY1" fmla="*/ 10000 h 10000"/>
                <a:gd name="connsiteX2" fmla="*/ 9844 w 9844"/>
                <a:gd name="connsiteY2" fmla="*/ 6654 h 10000"/>
                <a:gd name="connsiteX3" fmla="*/ 2383 w 9844"/>
                <a:gd name="connsiteY3" fmla="*/ 0 h 10000"/>
                <a:gd name="connsiteX4" fmla="*/ 0 w 9844"/>
                <a:gd name="connsiteY4" fmla="*/ 3115 h 10000"/>
                <a:gd name="connsiteX0" fmla="*/ 0 w 9987"/>
                <a:gd name="connsiteY0" fmla="*/ 3053 h 10000"/>
                <a:gd name="connsiteX1" fmla="*/ 7283 w 9987"/>
                <a:gd name="connsiteY1" fmla="*/ 10000 h 10000"/>
                <a:gd name="connsiteX2" fmla="*/ 9987 w 9987"/>
                <a:gd name="connsiteY2" fmla="*/ 6654 h 10000"/>
                <a:gd name="connsiteX3" fmla="*/ 2408 w 9987"/>
                <a:gd name="connsiteY3" fmla="*/ 0 h 10000"/>
                <a:gd name="connsiteX4" fmla="*/ 0 w 9987"/>
                <a:gd name="connsiteY4" fmla="*/ 3053 h 10000"/>
                <a:gd name="connsiteX0" fmla="*/ 0 w 10000"/>
                <a:gd name="connsiteY0" fmla="*/ 3053 h 10990"/>
                <a:gd name="connsiteX1" fmla="*/ 6427 w 10000"/>
                <a:gd name="connsiteY1" fmla="*/ 10990 h 10990"/>
                <a:gd name="connsiteX2" fmla="*/ 10000 w 10000"/>
                <a:gd name="connsiteY2" fmla="*/ 6654 h 10990"/>
                <a:gd name="connsiteX3" fmla="*/ 2411 w 10000"/>
                <a:gd name="connsiteY3" fmla="*/ 0 h 10990"/>
                <a:gd name="connsiteX4" fmla="*/ 0 w 10000"/>
                <a:gd name="connsiteY4" fmla="*/ 3053 h 10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990">
                  <a:moveTo>
                    <a:pt x="0" y="3053"/>
                  </a:moveTo>
                  <a:lnTo>
                    <a:pt x="6427" y="10990"/>
                  </a:lnTo>
                  <a:lnTo>
                    <a:pt x="10000" y="6654"/>
                  </a:lnTo>
                  <a:lnTo>
                    <a:pt x="2411" y="0"/>
                  </a:lnTo>
                  <a:lnTo>
                    <a:pt x="0" y="3053"/>
                  </a:lnTo>
                  <a:close/>
                </a:path>
              </a:pathLst>
            </a:custGeom>
            <a:gradFill>
              <a:gsLst>
                <a:gs pos="7000">
                  <a:srgbClr val="080808">
                    <a:alpha val="10000"/>
                  </a:srgbClr>
                </a:gs>
                <a:gs pos="100000">
                  <a:schemeClr val="bg1">
                    <a:alpha val="0"/>
                  </a:schemeClr>
                </a:gs>
              </a:gsLst>
              <a:lin ang="3000000" scaled="0"/>
            </a:gradFill>
            <a:ln>
              <a:noFill/>
            </a:ln>
          </p:spPr>
          <p:txBody>
            <a:bodyPr vert="horz" wrap="square" lIns="91440" tIns="45720" rIns="91440" bIns="45720" numCol="1" anchor="t" anchorCtr="0" compatLnSpc="1">
              <a:prstTxWarp prst="textNoShape">
                <a:avLst/>
              </a:prstTxWarp>
            </a:bodyPr>
            <a:lstStyle/>
            <a:p>
              <a:r>
                <a:rPr lang="en-US"/>
                <a:t> </a:t>
              </a:r>
            </a:p>
          </p:txBody>
        </p:sp>
        <p:grpSp>
          <p:nvGrpSpPr>
            <p:cNvPr id="54" name="Group 53"/>
            <p:cNvGrpSpPr/>
            <p:nvPr/>
          </p:nvGrpSpPr>
          <p:grpSpPr>
            <a:xfrm>
              <a:off x="1898650" y="1520825"/>
              <a:ext cx="1789112" cy="2841625"/>
              <a:chOff x="3727450" y="1076325"/>
              <a:chExt cx="1789112" cy="2841625"/>
            </a:xfrm>
          </p:grpSpPr>
          <p:sp>
            <p:nvSpPr>
              <p:cNvPr id="55" name="Freeform 54"/>
              <p:cNvSpPr>
                <a:spLocks/>
              </p:cNvSpPr>
              <p:nvPr/>
            </p:nvSpPr>
            <p:spPr bwMode="auto">
              <a:xfrm>
                <a:off x="3736975" y="1905000"/>
                <a:ext cx="884237" cy="2012950"/>
              </a:xfrm>
              <a:custGeom>
                <a:avLst/>
                <a:gdLst>
                  <a:gd name="T0" fmla="*/ 0 w 557"/>
                  <a:gd name="T1" fmla="*/ 0 h 1268"/>
                  <a:gd name="T2" fmla="*/ 557 w 557"/>
                  <a:gd name="T3" fmla="*/ 115 h 1268"/>
                  <a:gd name="T4" fmla="*/ 552 w 557"/>
                  <a:gd name="T5" fmla="*/ 1268 h 1268"/>
                  <a:gd name="T6" fmla="*/ 0 w 557"/>
                  <a:gd name="T7" fmla="*/ 977 h 1268"/>
                  <a:gd name="T8" fmla="*/ 0 w 557"/>
                  <a:gd name="T9" fmla="*/ 0 h 1268"/>
                </a:gdLst>
                <a:ahLst/>
                <a:cxnLst>
                  <a:cxn ang="0">
                    <a:pos x="T0" y="T1"/>
                  </a:cxn>
                  <a:cxn ang="0">
                    <a:pos x="T2" y="T3"/>
                  </a:cxn>
                  <a:cxn ang="0">
                    <a:pos x="T4" y="T5"/>
                  </a:cxn>
                  <a:cxn ang="0">
                    <a:pos x="T6" y="T7"/>
                  </a:cxn>
                  <a:cxn ang="0">
                    <a:pos x="T8" y="T9"/>
                  </a:cxn>
                </a:cxnLst>
                <a:rect l="0" t="0" r="r" b="b"/>
                <a:pathLst>
                  <a:path w="557" h="1268">
                    <a:moveTo>
                      <a:pt x="0" y="0"/>
                    </a:moveTo>
                    <a:lnTo>
                      <a:pt x="557" y="115"/>
                    </a:lnTo>
                    <a:lnTo>
                      <a:pt x="552" y="1268"/>
                    </a:lnTo>
                    <a:lnTo>
                      <a:pt x="0" y="977"/>
                    </a:lnTo>
                    <a:lnTo>
                      <a:pt x="0" y="0"/>
                    </a:lnTo>
                    <a:close/>
                  </a:path>
                </a:pathLst>
              </a:custGeom>
              <a:solidFill>
                <a:srgbClr val="CCD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p:cNvSpPr>
              <p:nvPr/>
            </p:nvSpPr>
            <p:spPr bwMode="auto">
              <a:xfrm>
                <a:off x="4613275" y="1905000"/>
                <a:ext cx="893762" cy="2012950"/>
              </a:xfrm>
              <a:custGeom>
                <a:avLst/>
                <a:gdLst>
                  <a:gd name="T0" fmla="*/ 563 w 563"/>
                  <a:gd name="T1" fmla="*/ 0 h 1268"/>
                  <a:gd name="T2" fmla="*/ 5 w 563"/>
                  <a:gd name="T3" fmla="*/ 115 h 1268"/>
                  <a:gd name="T4" fmla="*/ 0 w 563"/>
                  <a:gd name="T5" fmla="*/ 1268 h 1268"/>
                  <a:gd name="T6" fmla="*/ 563 w 563"/>
                  <a:gd name="T7" fmla="*/ 977 h 1268"/>
                  <a:gd name="T8" fmla="*/ 563 w 563"/>
                  <a:gd name="T9" fmla="*/ 0 h 1268"/>
                </a:gdLst>
                <a:ahLst/>
                <a:cxnLst>
                  <a:cxn ang="0">
                    <a:pos x="T0" y="T1"/>
                  </a:cxn>
                  <a:cxn ang="0">
                    <a:pos x="T2" y="T3"/>
                  </a:cxn>
                  <a:cxn ang="0">
                    <a:pos x="T4" y="T5"/>
                  </a:cxn>
                  <a:cxn ang="0">
                    <a:pos x="T6" y="T7"/>
                  </a:cxn>
                  <a:cxn ang="0">
                    <a:pos x="T8" y="T9"/>
                  </a:cxn>
                </a:cxnLst>
                <a:rect l="0" t="0" r="r" b="b"/>
                <a:pathLst>
                  <a:path w="563" h="1268">
                    <a:moveTo>
                      <a:pt x="563" y="0"/>
                    </a:moveTo>
                    <a:lnTo>
                      <a:pt x="5" y="115"/>
                    </a:lnTo>
                    <a:lnTo>
                      <a:pt x="0" y="1268"/>
                    </a:lnTo>
                    <a:lnTo>
                      <a:pt x="563" y="977"/>
                    </a:lnTo>
                    <a:lnTo>
                      <a:pt x="563" y="0"/>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p:nvSpPr>
            <p:spPr bwMode="auto">
              <a:xfrm>
                <a:off x="3727450" y="1765300"/>
                <a:ext cx="1789112" cy="331788"/>
              </a:xfrm>
              <a:custGeom>
                <a:avLst/>
                <a:gdLst>
                  <a:gd name="T0" fmla="*/ 1127 w 1127"/>
                  <a:gd name="T1" fmla="*/ 88 h 209"/>
                  <a:gd name="T2" fmla="*/ 569 w 1127"/>
                  <a:gd name="T3" fmla="*/ 0 h 209"/>
                  <a:gd name="T4" fmla="*/ 0 w 1127"/>
                  <a:gd name="T5" fmla="*/ 88 h 209"/>
                  <a:gd name="T6" fmla="*/ 558 w 1127"/>
                  <a:gd name="T7" fmla="*/ 209 h 209"/>
                  <a:gd name="T8" fmla="*/ 1127 w 1127"/>
                  <a:gd name="T9" fmla="*/ 88 h 209"/>
                </a:gdLst>
                <a:ahLst/>
                <a:cxnLst>
                  <a:cxn ang="0">
                    <a:pos x="T0" y="T1"/>
                  </a:cxn>
                  <a:cxn ang="0">
                    <a:pos x="T2" y="T3"/>
                  </a:cxn>
                  <a:cxn ang="0">
                    <a:pos x="T4" y="T5"/>
                  </a:cxn>
                  <a:cxn ang="0">
                    <a:pos x="T6" y="T7"/>
                  </a:cxn>
                  <a:cxn ang="0">
                    <a:pos x="T8" y="T9"/>
                  </a:cxn>
                </a:cxnLst>
                <a:rect l="0" t="0" r="r" b="b"/>
                <a:pathLst>
                  <a:path w="1127" h="209">
                    <a:moveTo>
                      <a:pt x="1127" y="88"/>
                    </a:moveTo>
                    <a:lnTo>
                      <a:pt x="569" y="0"/>
                    </a:lnTo>
                    <a:lnTo>
                      <a:pt x="0" y="88"/>
                    </a:lnTo>
                    <a:lnTo>
                      <a:pt x="558" y="209"/>
                    </a:lnTo>
                    <a:lnTo>
                      <a:pt x="1127" y="8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p:cNvSpPr>
              <p:nvPr/>
            </p:nvSpPr>
            <p:spPr bwMode="auto">
              <a:xfrm>
                <a:off x="3987800" y="1365250"/>
                <a:ext cx="633412" cy="635000"/>
              </a:xfrm>
              <a:custGeom>
                <a:avLst/>
                <a:gdLst>
                  <a:gd name="T0" fmla="*/ 0 w 399"/>
                  <a:gd name="T1" fmla="*/ 0 h 400"/>
                  <a:gd name="T2" fmla="*/ 399 w 399"/>
                  <a:gd name="T3" fmla="*/ 38 h 400"/>
                  <a:gd name="T4" fmla="*/ 399 w 399"/>
                  <a:gd name="T5" fmla="*/ 400 h 400"/>
                  <a:gd name="T6" fmla="*/ 0 w 399"/>
                  <a:gd name="T7" fmla="*/ 318 h 400"/>
                  <a:gd name="T8" fmla="*/ 0 w 399"/>
                  <a:gd name="T9" fmla="*/ 0 h 400"/>
                </a:gdLst>
                <a:ahLst/>
                <a:cxnLst>
                  <a:cxn ang="0">
                    <a:pos x="T0" y="T1"/>
                  </a:cxn>
                  <a:cxn ang="0">
                    <a:pos x="T2" y="T3"/>
                  </a:cxn>
                  <a:cxn ang="0">
                    <a:pos x="T4" y="T5"/>
                  </a:cxn>
                  <a:cxn ang="0">
                    <a:pos x="T6" y="T7"/>
                  </a:cxn>
                  <a:cxn ang="0">
                    <a:pos x="T8" y="T9"/>
                  </a:cxn>
                </a:cxnLst>
                <a:rect l="0" t="0" r="r" b="b"/>
                <a:pathLst>
                  <a:path w="399" h="400">
                    <a:moveTo>
                      <a:pt x="0" y="0"/>
                    </a:moveTo>
                    <a:lnTo>
                      <a:pt x="399" y="38"/>
                    </a:lnTo>
                    <a:lnTo>
                      <a:pt x="399" y="400"/>
                    </a:lnTo>
                    <a:lnTo>
                      <a:pt x="0" y="318"/>
                    </a:lnTo>
                    <a:lnTo>
                      <a:pt x="0" y="0"/>
                    </a:lnTo>
                    <a:close/>
                  </a:path>
                </a:pathLst>
              </a:custGeom>
              <a:solidFill>
                <a:srgbClr val="CCD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p:nvSpPr>
            <p:spPr bwMode="auto">
              <a:xfrm>
                <a:off x="4621213" y="1373188"/>
                <a:ext cx="538162" cy="619125"/>
              </a:xfrm>
              <a:custGeom>
                <a:avLst/>
                <a:gdLst>
                  <a:gd name="T0" fmla="*/ 339 w 339"/>
                  <a:gd name="T1" fmla="*/ 0 h 390"/>
                  <a:gd name="T2" fmla="*/ 0 w 339"/>
                  <a:gd name="T3" fmla="*/ 33 h 390"/>
                  <a:gd name="T4" fmla="*/ 0 w 339"/>
                  <a:gd name="T5" fmla="*/ 390 h 390"/>
                  <a:gd name="T6" fmla="*/ 339 w 339"/>
                  <a:gd name="T7" fmla="*/ 324 h 390"/>
                  <a:gd name="T8" fmla="*/ 339 w 339"/>
                  <a:gd name="T9" fmla="*/ 0 h 390"/>
                </a:gdLst>
                <a:ahLst/>
                <a:cxnLst>
                  <a:cxn ang="0">
                    <a:pos x="T0" y="T1"/>
                  </a:cxn>
                  <a:cxn ang="0">
                    <a:pos x="T2" y="T3"/>
                  </a:cxn>
                  <a:cxn ang="0">
                    <a:pos x="T4" y="T5"/>
                  </a:cxn>
                  <a:cxn ang="0">
                    <a:pos x="T6" y="T7"/>
                  </a:cxn>
                  <a:cxn ang="0">
                    <a:pos x="T8" y="T9"/>
                  </a:cxn>
                </a:cxnLst>
                <a:rect l="0" t="0" r="r" b="b"/>
                <a:pathLst>
                  <a:path w="339" h="390">
                    <a:moveTo>
                      <a:pt x="339" y="0"/>
                    </a:moveTo>
                    <a:lnTo>
                      <a:pt x="0" y="33"/>
                    </a:lnTo>
                    <a:lnTo>
                      <a:pt x="0" y="390"/>
                    </a:lnTo>
                    <a:lnTo>
                      <a:pt x="339" y="324"/>
                    </a:lnTo>
                    <a:lnTo>
                      <a:pt x="339" y="0"/>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p:cNvSpPr>
              <p:nvPr/>
            </p:nvSpPr>
            <p:spPr bwMode="auto">
              <a:xfrm>
                <a:off x="3979863" y="1320800"/>
                <a:ext cx="1179512" cy="104775"/>
              </a:xfrm>
              <a:custGeom>
                <a:avLst/>
                <a:gdLst>
                  <a:gd name="T0" fmla="*/ 743 w 743"/>
                  <a:gd name="T1" fmla="*/ 33 h 66"/>
                  <a:gd name="T2" fmla="*/ 339 w 743"/>
                  <a:gd name="T3" fmla="*/ 0 h 66"/>
                  <a:gd name="T4" fmla="*/ 0 w 743"/>
                  <a:gd name="T5" fmla="*/ 28 h 66"/>
                  <a:gd name="T6" fmla="*/ 404 w 743"/>
                  <a:gd name="T7" fmla="*/ 66 h 66"/>
                  <a:gd name="T8" fmla="*/ 743 w 743"/>
                  <a:gd name="T9" fmla="*/ 33 h 66"/>
                </a:gdLst>
                <a:ahLst/>
                <a:cxnLst>
                  <a:cxn ang="0">
                    <a:pos x="T0" y="T1"/>
                  </a:cxn>
                  <a:cxn ang="0">
                    <a:pos x="T2" y="T3"/>
                  </a:cxn>
                  <a:cxn ang="0">
                    <a:pos x="T4" y="T5"/>
                  </a:cxn>
                  <a:cxn ang="0">
                    <a:pos x="T6" y="T7"/>
                  </a:cxn>
                  <a:cxn ang="0">
                    <a:pos x="T8" y="T9"/>
                  </a:cxn>
                </a:cxnLst>
                <a:rect l="0" t="0" r="r" b="b"/>
                <a:pathLst>
                  <a:path w="743" h="66">
                    <a:moveTo>
                      <a:pt x="743" y="33"/>
                    </a:moveTo>
                    <a:lnTo>
                      <a:pt x="339" y="0"/>
                    </a:lnTo>
                    <a:lnTo>
                      <a:pt x="0" y="28"/>
                    </a:lnTo>
                    <a:lnTo>
                      <a:pt x="404" y="66"/>
                    </a:lnTo>
                    <a:lnTo>
                      <a:pt x="74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p:nvSpPr>
            <p:spPr bwMode="auto">
              <a:xfrm>
                <a:off x="4352925" y="1085850"/>
                <a:ext cx="260350" cy="296863"/>
              </a:xfrm>
              <a:custGeom>
                <a:avLst/>
                <a:gdLst>
                  <a:gd name="T0" fmla="*/ 164 w 164"/>
                  <a:gd name="T1" fmla="*/ 11 h 187"/>
                  <a:gd name="T2" fmla="*/ 0 w 164"/>
                  <a:gd name="T3" fmla="*/ 0 h 187"/>
                  <a:gd name="T4" fmla="*/ 0 w 164"/>
                  <a:gd name="T5" fmla="*/ 170 h 187"/>
                  <a:gd name="T6" fmla="*/ 164 w 164"/>
                  <a:gd name="T7" fmla="*/ 187 h 187"/>
                  <a:gd name="T8" fmla="*/ 164 w 164"/>
                  <a:gd name="T9" fmla="*/ 11 h 187"/>
                </a:gdLst>
                <a:ahLst/>
                <a:cxnLst>
                  <a:cxn ang="0">
                    <a:pos x="T0" y="T1"/>
                  </a:cxn>
                  <a:cxn ang="0">
                    <a:pos x="T2" y="T3"/>
                  </a:cxn>
                  <a:cxn ang="0">
                    <a:pos x="T4" y="T5"/>
                  </a:cxn>
                  <a:cxn ang="0">
                    <a:pos x="T6" y="T7"/>
                  </a:cxn>
                  <a:cxn ang="0">
                    <a:pos x="T8" y="T9"/>
                  </a:cxn>
                </a:cxnLst>
                <a:rect l="0" t="0" r="r" b="b"/>
                <a:pathLst>
                  <a:path w="164" h="187">
                    <a:moveTo>
                      <a:pt x="164" y="11"/>
                    </a:moveTo>
                    <a:lnTo>
                      <a:pt x="0" y="0"/>
                    </a:lnTo>
                    <a:lnTo>
                      <a:pt x="0" y="170"/>
                    </a:lnTo>
                    <a:lnTo>
                      <a:pt x="164" y="187"/>
                    </a:lnTo>
                    <a:lnTo>
                      <a:pt x="164" y="11"/>
                    </a:lnTo>
                    <a:close/>
                  </a:path>
                </a:pathLst>
              </a:custGeom>
              <a:solidFill>
                <a:srgbClr val="CCD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3"/>
              <p:cNvSpPr>
                <a:spLocks/>
              </p:cNvSpPr>
              <p:nvPr/>
            </p:nvSpPr>
            <p:spPr bwMode="auto">
              <a:xfrm>
                <a:off x="4613275" y="1085850"/>
                <a:ext cx="252412" cy="296863"/>
              </a:xfrm>
              <a:custGeom>
                <a:avLst/>
                <a:gdLst>
                  <a:gd name="T0" fmla="*/ 159 w 159"/>
                  <a:gd name="T1" fmla="*/ 176 h 187"/>
                  <a:gd name="T2" fmla="*/ 0 w 159"/>
                  <a:gd name="T3" fmla="*/ 187 h 187"/>
                  <a:gd name="T4" fmla="*/ 0 w 159"/>
                  <a:gd name="T5" fmla="*/ 11 h 187"/>
                  <a:gd name="T6" fmla="*/ 159 w 159"/>
                  <a:gd name="T7" fmla="*/ 0 h 187"/>
                  <a:gd name="T8" fmla="*/ 159 w 159"/>
                  <a:gd name="T9" fmla="*/ 176 h 187"/>
                </a:gdLst>
                <a:ahLst/>
                <a:cxnLst>
                  <a:cxn ang="0">
                    <a:pos x="T0" y="T1"/>
                  </a:cxn>
                  <a:cxn ang="0">
                    <a:pos x="T2" y="T3"/>
                  </a:cxn>
                  <a:cxn ang="0">
                    <a:pos x="T4" y="T5"/>
                  </a:cxn>
                  <a:cxn ang="0">
                    <a:pos x="T6" y="T7"/>
                  </a:cxn>
                  <a:cxn ang="0">
                    <a:pos x="T8" y="T9"/>
                  </a:cxn>
                </a:cxnLst>
                <a:rect l="0" t="0" r="r" b="b"/>
                <a:pathLst>
                  <a:path w="159" h="187">
                    <a:moveTo>
                      <a:pt x="159" y="176"/>
                    </a:moveTo>
                    <a:lnTo>
                      <a:pt x="0" y="187"/>
                    </a:lnTo>
                    <a:lnTo>
                      <a:pt x="0" y="11"/>
                    </a:lnTo>
                    <a:lnTo>
                      <a:pt x="159" y="0"/>
                    </a:lnTo>
                    <a:lnTo>
                      <a:pt x="159" y="176"/>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4"/>
              <p:cNvSpPr>
                <a:spLocks/>
              </p:cNvSpPr>
              <p:nvPr/>
            </p:nvSpPr>
            <p:spPr bwMode="auto">
              <a:xfrm>
                <a:off x="4352925" y="1076325"/>
                <a:ext cx="512762" cy="26988"/>
              </a:xfrm>
              <a:custGeom>
                <a:avLst/>
                <a:gdLst>
                  <a:gd name="T0" fmla="*/ 323 w 323"/>
                  <a:gd name="T1" fmla="*/ 11 h 17"/>
                  <a:gd name="T2" fmla="*/ 142 w 323"/>
                  <a:gd name="T3" fmla="*/ 0 h 17"/>
                  <a:gd name="T4" fmla="*/ 0 w 323"/>
                  <a:gd name="T5" fmla="*/ 6 h 17"/>
                  <a:gd name="T6" fmla="*/ 180 w 323"/>
                  <a:gd name="T7" fmla="*/ 17 h 17"/>
                  <a:gd name="T8" fmla="*/ 323 w 323"/>
                  <a:gd name="T9" fmla="*/ 11 h 17"/>
                </a:gdLst>
                <a:ahLst/>
                <a:cxnLst>
                  <a:cxn ang="0">
                    <a:pos x="T0" y="T1"/>
                  </a:cxn>
                  <a:cxn ang="0">
                    <a:pos x="T2" y="T3"/>
                  </a:cxn>
                  <a:cxn ang="0">
                    <a:pos x="T4" y="T5"/>
                  </a:cxn>
                  <a:cxn ang="0">
                    <a:pos x="T6" y="T7"/>
                  </a:cxn>
                  <a:cxn ang="0">
                    <a:pos x="T8" y="T9"/>
                  </a:cxn>
                </a:cxnLst>
                <a:rect l="0" t="0" r="r" b="b"/>
                <a:pathLst>
                  <a:path w="323" h="17">
                    <a:moveTo>
                      <a:pt x="323" y="11"/>
                    </a:moveTo>
                    <a:lnTo>
                      <a:pt x="142" y="0"/>
                    </a:lnTo>
                    <a:lnTo>
                      <a:pt x="0" y="6"/>
                    </a:lnTo>
                    <a:lnTo>
                      <a:pt x="180" y="17"/>
                    </a:lnTo>
                    <a:lnTo>
                      <a:pt x="323" y="11"/>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5"/>
              <p:cNvSpPr>
                <a:spLocks/>
              </p:cNvSpPr>
              <p:nvPr/>
            </p:nvSpPr>
            <p:spPr bwMode="auto">
              <a:xfrm>
                <a:off x="3736975" y="3317875"/>
                <a:ext cx="876300" cy="600075"/>
              </a:xfrm>
              <a:custGeom>
                <a:avLst/>
                <a:gdLst>
                  <a:gd name="T0" fmla="*/ 0 w 552"/>
                  <a:gd name="T1" fmla="*/ 0 h 378"/>
                  <a:gd name="T2" fmla="*/ 552 w 552"/>
                  <a:gd name="T3" fmla="*/ 274 h 378"/>
                  <a:gd name="T4" fmla="*/ 552 w 552"/>
                  <a:gd name="T5" fmla="*/ 378 h 378"/>
                  <a:gd name="T6" fmla="*/ 0 w 552"/>
                  <a:gd name="T7" fmla="*/ 87 h 378"/>
                  <a:gd name="T8" fmla="*/ 0 w 552"/>
                  <a:gd name="T9" fmla="*/ 0 h 378"/>
                </a:gdLst>
                <a:ahLst/>
                <a:cxnLst>
                  <a:cxn ang="0">
                    <a:pos x="T0" y="T1"/>
                  </a:cxn>
                  <a:cxn ang="0">
                    <a:pos x="T2" y="T3"/>
                  </a:cxn>
                  <a:cxn ang="0">
                    <a:pos x="T4" y="T5"/>
                  </a:cxn>
                  <a:cxn ang="0">
                    <a:pos x="T6" y="T7"/>
                  </a:cxn>
                  <a:cxn ang="0">
                    <a:pos x="T8" y="T9"/>
                  </a:cxn>
                </a:cxnLst>
                <a:rect l="0" t="0" r="r" b="b"/>
                <a:pathLst>
                  <a:path w="552" h="378">
                    <a:moveTo>
                      <a:pt x="0" y="0"/>
                    </a:moveTo>
                    <a:lnTo>
                      <a:pt x="552" y="274"/>
                    </a:lnTo>
                    <a:lnTo>
                      <a:pt x="552" y="378"/>
                    </a:lnTo>
                    <a:lnTo>
                      <a:pt x="0" y="87"/>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6"/>
              <p:cNvSpPr>
                <a:spLocks/>
              </p:cNvSpPr>
              <p:nvPr/>
            </p:nvSpPr>
            <p:spPr bwMode="auto">
              <a:xfrm>
                <a:off x="4613275" y="3317875"/>
                <a:ext cx="876300" cy="600075"/>
              </a:xfrm>
              <a:custGeom>
                <a:avLst/>
                <a:gdLst>
                  <a:gd name="T0" fmla="*/ 552 w 552"/>
                  <a:gd name="T1" fmla="*/ 0 h 378"/>
                  <a:gd name="T2" fmla="*/ 0 w 552"/>
                  <a:gd name="T3" fmla="*/ 280 h 378"/>
                  <a:gd name="T4" fmla="*/ 0 w 552"/>
                  <a:gd name="T5" fmla="*/ 378 h 378"/>
                  <a:gd name="T6" fmla="*/ 552 w 552"/>
                  <a:gd name="T7" fmla="*/ 87 h 378"/>
                  <a:gd name="T8" fmla="*/ 552 w 552"/>
                  <a:gd name="T9" fmla="*/ 0 h 378"/>
                </a:gdLst>
                <a:ahLst/>
                <a:cxnLst>
                  <a:cxn ang="0">
                    <a:pos x="T0" y="T1"/>
                  </a:cxn>
                  <a:cxn ang="0">
                    <a:pos x="T2" y="T3"/>
                  </a:cxn>
                  <a:cxn ang="0">
                    <a:pos x="T4" y="T5"/>
                  </a:cxn>
                  <a:cxn ang="0">
                    <a:pos x="T6" y="T7"/>
                  </a:cxn>
                  <a:cxn ang="0">
                    <a:pos x="T8" y="T9"/>
                  </a:cxn>
                </a:cxnLst>
                <a:rect l="0" t="0" r="r" b="b"/>
                <a:pathLst>
                  <a:path w="552" h="378">
                    <a:moveTo>
                      <a:pt x="552" y="0"/>
                    </a:moveTo>
                    <a:lnTo>
                      <a:pt x="0" y="280"/>
                    </a:lnTo>
                    <a:lnTo>
                      <a:pt x="0" y="378"/>
                    </a:lnTo>
                    <a:lnTo>
                      <a:pt x="552" y="87"/>
                    </a:lnTo>
                    <a:lnTo>
                      <a:pt x="55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7"/>
              <p:cNvSpPr>
                <a:spLocks/>
              </p:cNvSpPr>
              <p:nvPr/>
            </p:nvSpPr>
            <p:spPr bwMode="auto">
              <a:xfrm>
                <a:off x="3987800" y="1817688"/>
                <a:ext cx="633412" cy="182563"/>
              </a:xfrm>
              <a:custGeom>
                <a:avLst/>
                <a:gdLst>
                  <a:gd name="T0" fmla="*/ 399 w 399"/>
                  <a:gd name="T1" fmla="*/ 71 h 115"/>
                  <a:gd name="T2" fmla="*/ 0 w 399"/>
                  <a:gd name="T3" fmla="*/ 0 h 115"/>
                  <a:gd name="T4" fmla="*/ 0 w 399"/>
                  <a:gd name="T5" fmla="*/ 39 h 115"/>
                  <a:gd name="T6" fmla="*/ 399 w 399"/>
                  <a:gd name="T7" fmla="*/ 115 h 115"/>
                  <a:gd name="T8" fmla="*/ 399 w 399"/>
                  <a:gd name="T9" fmla="*/ 71 h 115"/>
                </a:gdLst>
                <a:ahLst/>
                <a:cxnLst>
                  <a:cxn ang="0">
                    <a:pos x="T0" y="T1"/>
                  </a:cxn>
                  <a:cxn ang="0">
                    <a:pos x="T2" y="T3"/>
                  </a:cxn>
                  <a:cxn ang="0">
                    <a:pos x="T4" y="T5"/>
                  </a:cxn>
                  <a:cxn ang="0">
                    <a:pos x="T6" y="T7"/>
                  </a:cxn>
                  <a:cxn ang="0">
                    <a:pos x="T8" y="T9"/>
                  </a:cxn>
                </a:cxnLst>
                <a:rect l="0" t="0" r="r" b="b"/>
                <a:pathLst>
                  <a:path w="399" h="115">
                    <a:moveTo>
                      <a:pt x="399" y="71"/>
                    </a:moveTo>
                    <a:lnTo>
                      <a:pt x="0" y="0"/>
                    </a:lnTo>
                    <a:lnTo>
                      <a:pt x="0" y="39"/>
                    </a:lnTo>
                    <a:lnTo>
                      <a:pt x="399" y="115"/>
                    </a:lnTo>
                    <a:lnTo>
                      <a:pt x="399" y="71"/>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8"/>
              <p:cNvSpPr>
                <a:spLocks/>
              </p:cNvSpPr>
              <p:nvPr/>
            </p:nvSpPr>
            <p:spPr bwMode="auto">
              <a:xfrm>
                <a:off x="4613275" y="1835150"/>
                <a:ext cx="546100" cy="165100"/>
              </a:xfrm>
              <a:custGeom>
                <a:avLst/>
                <a:gdLst>
                  <a:gd name="T0" fmla="*/ 344 w 344"/>
                  <a:gd name="T1" fmla="*/ 0 h 104"/>
                  <a:gd name="T2" fmla="*/ 0 w 344"/>
                  <a:gd name="T3" fmla="*/ 60 h 104"/>
                  <a:gd name="T4" fmla="*/ 0 w 344"/>
                  <a:gd name="T5" fmla="*/ 104 h 104"/>
                  <a:gd name="T6" fmla="*/ 344 w 344"/>
                  <a:gd name="T7" fmla="*/ 39 h 104"/>
                  <a:gd name="T8" fmla="*/ 344 w 344"/>
                  <a:gd name="T9" fmla="*/ 0 h 104"/>
                </a:gdLst>
                <a:ahLst/>
                <a:cxnLst>
                  <a:cxn ang="0">
                    <a:pos x="T0" y="T1"/>
                  </a:cxn>
                  <a:cxn ang="0">
                    <a:pos x="T2" y="T3"/>
                  </a:cxn>
                  <a:cxn ang="0">
                    <a:pos x="T4" y="T5"/>
                  </a:cxn>
                  <a:cxn ang="0">
                    <a:pos x="T6" y="T7"/>
                  </a:cxn>
                  <a:cxn ang="0">
                    <a:pos x="T8" y="T9"/>
                  </a:cxn>
                </a:cxnLst>
                <a:rect l="0" t="0" r="r" b="b"/>
                <a:pathLst>
                  <a:path w="344" h="104">
                    <a:moveTo>
                      <a:pt x="344" y="0"/>
                    </a:moveTo>
                    <a:lnTo>
                      <a:pt x="0" y="60"/>
                    </a:lnTo>
                    <a:lnTo>
                      <a:pt x="0" y="104"/>
                    </a:lnTo>
                    <a:lnTo>
                      <a:pt x="344" y="39"/>
                    </a:lnTo>
                    <a:lnTo>
                      <a:pt x="344" y="0"/>
                    </a:lnTo>
                    <a:close/>
                  </a:path>
                </a:pathLst>
              </a:custGeom>
              <a:solidFill>
                <a:srgbClr val="A2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9"/>
              <p:cNvSpPr>
                <a:spLocks/>
              </p:cNvSpPr>
              <p:nvPr/>
            </p:nvSpPr>
            <p:spPr bwMode="auto">
              <a:xfrm>
                <a:off x="4352925" y="1320800"/>
                <a:ext cx="260350" cy="61913"/>
              </a:xfrm>
              <a:custGeom>
                <a:avLst/>
                <a:gdLst>
                  <a:gd name="T0" fmla="*/ 164 w 164"/>
                  <a:gd name="T1" fmla="*/ 17 h 39"/>
                  <a:gd name="T2" fmla="*/ 0 w 164"/>
                  <a:gd name="T3" fmla="*/ 0 h 39"/>
                  <a:gd name="T4" fmla="*/ 0 w 164"/>
                  <a:gd name="T5" fmla="*/ 22 h 39"/>
                  <a:gd name="T6" fmla="*/ 164 w 164"/>
                  <a:gd name="T7" fmla="*/ 39 h 39"/>
                  <a:gd name="T8" fmla="*/ 164 w 164"/>
                  <a:gd name="T9" fmla="*/ 17 h 39"/>
                </a:gdLst>
                <a:ahLst/>
                <a:cxnLst>
                  <a:cxn ang="0">
                    <a:pos x="T0" y="T1"/>
                  </a:cxn>
                  <a:cxn ang="0">
                    <a:pos x="T2" y="T3"/>
                  </a:cxn>
                  <a:cxn ang="0">
                    <a:pos x="T4" y="T5"/>
                  </a:cxn>
                  <a:cxn ang="0">
                    <a:pos x="T6" y="T7"/>
                  </a:cxn>
                  <a:cxn ang="0">
                    <a:pos x="T8" y="T9"/>
                  </a:cxn>
                </a:cxnLst>
                <a:rect l="0" t="0" r="r" b="b"/>
                <a:pathLst>
                  <a:path w="164" h="39">
                    <a:moveTo>
                      <a:pt x="164" y="17"/>
                    </a:moveTo>
                    <a:lnTo>
                      <a:pt x="0" y="0"/>
                    </a:lnTo>
                    <a:lnTo>
                      <a:pt x="0" y="22"/>
                    </a:lnTo>
                    <a:lnTo>
                      <a:pt x="164" y="39"/>
                    </a:lnTo>
                    <a:lnTo>
                      <a:pt x="164" y="17"/>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0"/>
              <p:cNvSpPr>
                <a:spLocks/>
              </p:cNvSpPr>
              <p:nvPr/>
            </p:nvSpPr>
            <p:spPr bwMode="auto">
              <a:xfrm>
                <a:off x="4613275" y="1320800"/>
                <a:ext cx="252412" cy="61913"/>
              </a:xfrm>
              <a:custGeom>
                <a:avLst/>
                <a:gdLst>
                  <a:gd name="T0" fmla="*/ 159 w 159"/>
                  <a:gd name="T1" fmla="*/ 28 h 39"/>
                  <a:gd name="T2" fmla="*/ 0 w 159"/>
                  <a:gd name="T3" fmla="*/ 39 h 39"/>
                  <a:gd name="T4" fmla="*/ 0 w 159"/>
                  <a:gd name="T5" fmla="*/ 17 h 39"/>
                  <a:gd name="T6" fmla="*/ 159 w 159"/>
                  <a:gd name="T7" fmla="*/ 0 h 39"/>
                  <a:gd name="T8" fmla="*/ 159 w 159"/>
                  <a:gd name="T9" fmla="*/ 28 h 39"/>
                </a:gdLst>
                <a:ahLst/>
                <a:cxnLst>
                  <a:cxn ang="0">
                    <a:pos x="T0" y="T1"/>
                  </a:cxn>
                  <a:cxn ang="0">
                    <a:pos x="T2" y="T3"/>
                  </a:cxn>
                  <a:cxn ang="0">
                    <a:pos x="T4" y="T5"/>
                  </a:cxn>
                  <a:cxn ang="0">
                    <a:pos x="T6" y="T7"/>
                  </a:cxn>
                  <a:cxn ang="0">
                    <a:pos x="T8" y="T9"/>
                  </a:cxn>
                </a:cxnLst>
                <a:rect l="0" t="0" r="r" b="b"/>
                <a:pathLst>
                  <a:path w="159" h="39">
                    <a:moveTo>
                      <a:pt x="159" y="28"/>
                    </a:moveTo>
                    <a:lnTo>
                      <a:pt x="0" y="39"/>
                    </a:lnTo>
                    <a:lnTo>
                      <a:pt x="0" y="17"/>
                    </a:lnTo>
                    <a:lnTo>
                      <a:pt x="159" y="0"/>
                    </a:lnTo>
                    <a:lnTo>
                      <a:pt x="159" y="28"/>
                    </a:lnTo>
                    <a:close/>
                  </a:path>
                </a:pathLst>
              </a:custGeom>
              <a:solidFill>
                <a:srgbClr val="A2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71"/>
              <p:cNvSpPr>
                <a:spLocks/>
              </p:cNvSpPr>
              <p:nvPr/>
            </p:nvSpPr>
            <p:spPr bwMode="auto">
              <a:xfrm>
                <a:off x="4621213" y="2027238"/>
                <a:ext cx="877887" cy="244475"/>
              </a:xfrm>
              <a:custGeom>
                <a:avLst/>
                <a:gdLst>
                  <a:gd name="T0" fmla="*/ 0 w 553"/>
                  <a:gd name="T1" fmla="*/ 154 h 154"/>
                  <a:gd name="T2" fmla="*/ 553 w 553"/>
                  <a:gd name="T3" fmla="*/ 22 h 154"/>
                  <a:gd name="T4" fmla="*/ 553 w 553"/>
                  <a:gd name="T5" fmla="*/ 0 h 154"/>
                  <a:gd name="T6" fmla="*/ 0 w 553"/>
                  <a:gd name="T7" fmla="*/ 126 h 154"/>
                  <a:gd name="T8" fmla="*/ 0 w 553"/>
                  <a:gd name="T9" fmla="*/ 154 h 154"/>
                </a:gdLst>
                <a:ahLst/>
                <a:cxnLst>
                  <a:cxn ang="0">
                    <a:pos x="T0" y="T1"/>
                  </a:cxn>
                  <a:cxn ang="0">
                    <a:pos x="T2" y="T3"/>
                  </a:cxn>
                  <a:cxn ang="0">
                    <a:pos x="T4" y="T5"/>
                  </a:cxn>
                  <a:cxn ang="0">
                    <a:pos x="T6" y="T7"/>
                  </a:cxn>
                  <a:cxn ang="0">
                    <a:pos x="T8" y="T9"/>
                  </a:cxn>
                </a:cxnLst>
                <a:rect l="0" t="0" r="r" b="b"/>
                <a:pathLst>
                  <a:path w="553" h="154">
                    <a:moveTo>
                      <a:pt x="0" y="154"/>
                    </a:moveTo>
                    <a:lnTo>
                      <a:pt x="553" y="22"/>
                    </a:lnTo>
                    <a:lnTo>
                      <a:pt x="553" y="0"/>
                    </a:lnTo>
                    <a:lnTo>
                      <a:pt x="0" y="126"/>
                    </a:lnTo>
                    <a:lnTo>
                      <a:pt x="0" y="154"/>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2"/>
              <p:cNvSpPr>
                <a:spLocks/>
              </p:cNvSpPr>
              <p:nvPr/>
            </p:nvSpPr>
            <p:spPr bwMode="auto">
              <a:xfrm>
                <a:off x="4613275" y="2139950"/>
                <a:ext cx="893762" cy="269875"/>
              </a:xfrm>
              <a:custGeom>
                <a:avLst/>
                <a:gdLst>
                  <a:gd name="T0" fmla="*/ 0 w 563"/>
                  <a:gd name="T1" fmla="*/ 170 h 170"/>
                  <a:gd name="T2" fmla="*/ 563 w 563"/>
                  <a:gd name="T3" fmla="*/ 22 h 170"/>
                  <a:gd name="T4" fmla="*/ 563 w 563"/>
                  <a:gd name="T5" fmla="*/ 0 h 170"/>
                  <a:gd name="T6" fmla="*/ 0 w 563"/>
                  <a:gd name="T7" fmla="*/ 143 h 170"/>
                  <a:gd name="T8" fmla="*/ 0 w 563"/>
                  <a:gd name="T9" fmla="*/ 170 h 170"/>
                </a:gdLst>
                <a:ahLst/>
                <a:cxnLst>
                  <a:cxn ang="0">
                    <a:pos x="T0" y="T1"/>
                  </a:cxn>
                  <a:cxn ang="0">
                    <a:pos x="T2" y="T3"/>
                  </a:cxn>
                  <a:cxn ang="0">
                    <a:pos x="T4" y="T5"/>
                  </a:cxn>
                  <a:cxn ang="0">
                    <a:pos x="T6" y="T7"/>
                  </a:cxn>
                  <a:cxn ang="0">
                    <a:pos x="T8" y="T9"/>
                  </a:cxn>
                </a:cxnLst>
                <a:rect l="0" t="0" r="r" b="b"/>
                <a:pathLst>
                  <a:path w="563" h="170">
                    <a:moveTo>
                      <a:pt x="0" y="170"/>
                    </a:moveTo>
                    <a:lnTo>
                      <a:pt x="563" y="22"/>
                    </a:lnTo>
                    <a:lnTo>
                      <a:pt x="563" y="0"/>
                    </a:lnTo>
                    <a:lnTo>
                      <a:pt x="0" y="143"/>
                    </a:lnTo>
                    <a:lnTo>
                      <a:pt x="0" y="170"/>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3"/>
              <p:cNvSpPr>
                <a:spLocks/>
              </p:cNvSpPr>
              <p:nvPr/>
            </p:nvSpPr>
            <p:spPr bwMode="auto">
              <a:xfrm>
                <a:off x="4621213" y="2262188"/>
                <a:ext cx="885825" cy="287338"/>
              </a:xfrm>
              <a:custGeom>
                <a:avLst/>
                <a:gdLst>
                  <a:gd name="T0" fmla="*/ 0 w 558"/>
                  <a:gd name="T1" fmla="*/ 181 h 181"/>
                  <a:gd name="T2" fmla="*/ 558 w 558"/>
                  <a:gd name="T3" fmla="*/ 22 h 181"/>
                  <a:gd name="T4" fmla="*/ 558 w 558"/>
                  <a:gd name="T5" fmla="*/ 0 h 181"/>
                  <a:gd name="T6" fmla="*/ 0 w 558"/>
                  <a:gd name="T7" fmla="*/ 154 h 181"/>
                  <a:gd name="T8" fmla="*/ 0 w 558"/>
                  <a:gd name="T9" fmla="*/ 181 h 181"/>
                </a:gdLst>
                <a:ahLst/>
                <a:cxnLst>
                  <a:cxn ang="0">
                    <a:pos x="T0" y="T1"/>
                  </a:cxn>
                  <a:cxn ang="0">
                    <a:pos x="T2" y="T3"/>
                  </a:cxn>
                  <a:cxn ang="0">
                    <a:pos x="T4" y="T5"/>
                  </a:cxn>
                  <a:cxn ang="0">
                    <a:pos x="T6" y="T7"/>
                  </a:cxn>
                  <a:cxn ang="0">
                    <a:pos x="T8" y="T9"/>
                  </a:cxn>
                </a:cxnLst>
                <a:rect l="0" t="0" r="r" b="b"/>
                <a:pathLst>
                  <a:path w="558" h="181">
                    <a:moveTo>
                      <a:pt x="0" y="181"/>
                    </a:moveTo>
                    <a:lnTo>
                      <a:pt x="558" y="22"/>
                    </a:lnTo>
                    <a:lnTo>
                      <a:pt x="558" y="0"/>
                    </a:lnTo>
                    <a:lnTo>
                      <a:pt x="0" y="154"/>
                    </a:lnTo>
                    <a:lnTo>
                      <a:pt x="0" y="18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4"/>
              <p:cNvSpPr>
                <a:spLocks/>
              </p:cNvSpPr>
              <p:nvPr/>
            </p:nvSpPr>
            <p:spPr bwMode="auto">
              <a:xfrm>
                <a:off x="4621213" y="2376488"/>
                <a:ext cx="885825" cy="312738"/>
              </a:xfrm>
              <a:custGeom>
                <a:avLst/>
                <a:gdLst>
                  <a:gd name="T0" fmla="*/ 0 w 558"/>
                  <a:gd name="T1" fmla="*/ 197 h 197"/>
                  <a:gd name="T2" fmla="*/ 558 w 558"/>
                  <a:gd name="T3" fmla="*/ 21 h 197"/>
                  <a:gd name="T4" fmla="*/ 558 w 558"/>
                  <a:gd name="T5" fmla="*/ 0 h 197"/>
                  <a:gd name="T6" fmla="*/ 0 w 558"/>
                  <a:gd name="T7" fmla="*/ 170 h 197"/>
                  <a:gd name="T8" fmla="*/ 0 w 558"/>
                  <a:gd name="T9" fmla="*/ 197 h 197"/>
                </a:gdLst>
                <a:ahLst/>
                <a:cxnLst>
                  <a:cxn ang="0">
                    <a:pos x="T0" y="T1"/>
                  </a:cxn>
                  <a:cxn ang="0">
                    <a:pos x="T2" y="T3"/>
                  </a:cxn>
                  <a:cxn ang="0">
                    <a:pos x="T4" y="T5"/>
                  </a:cxn>
                  <a:cxn ang="0">
                    <a:pos x="T6" y="T7"/>
                  </a:cxn>
                  <a:cxn ang="0">
                    <a:pos x="T8" y="T9"/>
                  </a:cxn>
                </a:cxnLst>
                <a:rect l="0" t="0" r="r" b="b"/>
                <a:pathLst>
                  <a:path w="558" h="197">
                    <a:moveTo>
                      <a:pt x="0" y="197"/>
                    </a:moveTo>
                    <a:lnTo>
                      <a:pt x="558" y="21"/>
                    </a:lnTo>
                    <a:lnTo>
                      <a:pt x="558" y="0"/>
                    </a:lnTo>
                    <a:lnTo>
                      <a:pt x="0" y="170"/>
                    </a:lnTo>
                    <a:lnTo>
                      <a:pt x="0" y="197"/>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5"/>
              <p:cNvSpPr>
                <a:spLocks/>
              </p:cNvSpPr>
              <p:nvPr/>
            </p:nvSpPr>
            <p:spPr bwMode="auto">
              <a:xfrm>
                <a:off x="4621213" y="2497138"/>
                <a:ext cx="885825" cy="331788"/>
              </a:xfrm>
              <a:custGeom>
                <a:avLst/>
                <a:gdLst>
                  <a:gd name="T0" fmla="*/ 0 w 558"/>
                  <a:gd name="T1" fmla="*/ 209 h 209"/>
                  <a:gd name="T2" fmla="*/ 558 w 558"/>
                  <a:gd name="T3" fmla="*/ 17 h 209"/>
                  <a:gd name="T4" fmla="*/ 558 w 558"/>
                  <a:gd name="T5" fmla="*/ 0 h 209"/>
                  <a:gd name="T6" fmla="*/ 0 w 558"/>
                  <a:gd name="T7" fmla="*/ 182 h 209"/>
                  <a:gd name="T8" fmla="*/ 0 w 558"/>
                  <a:gd name="T9" fmla="*/ 209 h 209"/>
                </a:gdLst>
                <a:ahLst/>
                <a:cxnLst>
                  <a:cxn ang="0">
                    <a:pos x="T0" y="T1"/>
                  </a:cxn>
                  <a:cxn ang="0">
                    <a:pos x="T2" y="T3"/>
                  </a:cxn>
                  <a:cxn ang="0">
                    <a:pos x="T4" y="T5"/>
                  </a:cxn>
                  <a:cxn ang="0">
                    <a:pos x="T6" y="T7"/>
                  </a:cxn>
                  <a:cxn ang="0">
                    <a:pos x="T8" y="T9"/>
                  </a:cxn>
                </a:cxnLst>
                <a:rect l="0" t="0" r="r" b="b"/>
                <a:pathLst>
                  <a:path w="558" h="209">
                    <a:moveTo>
                      <a:pt x="0" y="209"/>
                    </a:moveTo>
                    <a:lnTo>
                      <a:pt x="558" y="17"/>
                    </a:lnTo>
                    <a:lnTo>
                      <a:pt x="558" y="0"/>
                    </a:lnTo>
                    <a:lnTo>
                      <a:pt x="0" y="182"/>
                    </a:lnTo>
                    <a:lnTo>
                      <a:pt x="0" y="209"/>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6"/>
              <p:cNvSpPr>
                <a:spLocks/>
              </p:cNvSpPr>
              <p:nvPr/>
            </p:nvSpPr>
            <p:spPr bwMode="auto">
              <a:xfrm>
                <a:off x="4621213" y="2611438"/>
                <a:ext cx="885825" cy="357188"/>
              </a:xfrm>
              <a:custGeom>
                <a:avLst/>
                <a:gdLst>
                  <a:gd name="T0" fmla="*/ 0 w 558"/>
                  <a:gd name="T1" fmla="*/ 225 h 225"/>
                  <a:gd name="T2" fmla="*/ 558 w 558"/>
                  <a:gd name="T3" fmla="*/ 22 h 225"/>
                  <a:gd name="T4" fmla="*/ 558 w 558"/>
                  <a:gd name="T5" fmla="*/ 0 h 225"/>
                  <a:gd name="T6" fmla="*/ 0 w 558"/>
                  <a:gd name="T7" fmla="*/ 197 h 225"/>
                  <a:gd name="T8" fmla="*/ 0 w 558"/>
                  <a:gd name="T9" fmla="*/ 225 h 225"/>
                </a:gdLst>
                <a:ahLst/>
                <a:cxnLst>
                  <a:cxn ang="0">
                    <a:pos x="T0" y="T1"/>
                  </a:cxn>
                  <a:cxn ang="0">
                    <a:pos x="T2" y="T3"/>
                  </a:cxn>
                  <a:cxn ang="0">
                    <a:pos x="T4" y="T5"/>
                  </a:cxn>
                  <a:cxn ang="0">
                    <a:pos x="T6" y="T7"/>
                  </a:cxn>
                  <a:cxn ang="0">
                    <a:pos x="T8" y="T9"/>
                  </a:cxn>
                </a:cxnLst>
                <a:rect l="0" t="0" r="r" b="b"/>
                <a:pathLst>
                  <a:path w="558" h="225">
                    <a:moveTo>
                      <a:pt x="0" y="225"/>
                    </a:moveTo>
                    <a:lnTo>
                      <a:pt x="558" y="22"/>
                    </a:lnTo>
                    <a:lnTo>
                      <a:pt x="558" y="0"/>
                    </a:lnTo>
                    <a:lnTo>
                      <a:pt x="0" y="197"/>
                    </a:lnTo>
                    <a:lnTo>
                      <a:pt x="0" y="225"/>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7"/>
              <p:cNvSpPr>
                <a:spLocks/>
              </p:cNvSpPr>
              <p:nvPr/>
            </p:nvSpPr>
            <p:spPr bwMode="auto">
              <a:xfrm>
                <a:off x="4621213" y="2733675"/>
                <a:ext cx="885825" cy="374650"/>
              </a:xfrm>
              <a:custGeom>
                <a:avLst/>
                <a:gdLst>
                  <a:gd name="T0" fmla="*/ 0 w 558"/>
                  <a:gd name="T1" fmla="*/ 236 h 236"/>
                  <a:gd name="T2" fmla="*/ 558 w 558"/>
                  <a:gd name="T3" fmla="*/ 22 h 236"/>
                  <a:gd name="T4" fmla="*/ 558 w 558"/>
                  <a:gd name="T5" fmla="*/ 0 h 236"/>
                  <a:gd name="T6" fmla="*/ 0 w 558"/>
                  <a:gd name="T7" fmla="*/ 208 h 236"/>
                  <a:gd name="T8" fmla="*/ 0 w 558"/>
                  <a:gd name="T9" fmla="*/ 236 h 236"/>
                </a:gdLst>
                <a:ahLst/>
                <a:cxnLst>
                  <a:cxn ang="0">
                    <a:pos x="T0" y="T1"/>
                  </a:cxn>
                  <a:cxn ang="0">
                    <a:pos x="T2" y="T3"/>
                  </a:cxn>
                  <a:cxn ang="0">
                    <a:pos x="T4" y="T5"/>
                  </a:cxn>
                  <a:cxn ang="0">
                    <a:pos x="T6" y="T7"/>
                  </a:cxn>
                  <a:cxn ang="0">
                    <a:pos x="T8" y="T9"/>
                  </a:cxn>
                </a:cxnLst>
                <a:rect l="0" t="0" r="r" b="b"/>
                <a:pathLst>
                  <a:path w="558" h="236">
                    <a:moveTo>
                      <a:pt x="0" y="236"/>
                    </a:moveTo>
                    <a:lnTo>
                      <a:pt x="558" y="22"/>
                    </a:lnTo>
                    <a:lnTo>
                      <a:pt x="558" y="0"/>
                    </a:lnTo>
                    <a:lnTo>
                      <a:pt x="0" y="208"/>
                    </a:lnTo>
                    <a:lnTo>
                      <a:pt x="0" y="236"/>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8"/>
              <p:cNvSpPr>
                <a:spLocks/>
              </p:cNvSpPr>
              <p:nvPr/>
            </p:nvSpPr>
            <p:spPr bwMode="auto">
              <a:xfrm>
                <a:off x="4621213" y="2846388"/>
                <a:ext cx="885825" cy="401638"/>
              </a:xfrm>
              <a:custGeom>
                <a:avLst/>
                <a:gdLst>
                  <a:gd name="T0" fmla="*/ 0 w 558"/>
                  <a:gd name="T1" fmla="*/ 253 h 253"/>
                  <a:gd name="T2" fmla="*/ 558 w 558"/>
                  <a:gd name="T3" fmla="*/ 22 h 253"/>
                  <a:gd name="T4" fmla="*/ 558 w 558"/>
                  <a:gd name="T5" fmla="*/ 0 h 253"/>
                  <a:gd name="T6" fmla="*/ 0 w 558"/>
                  <a:gd name="T7" fmla="*/ 225 h 253"/>
                  <a:gd name="T8" fmla="*/ 0 w 558"/>
                  <a:gd name="T9" fmla="*/ 253 h 253"/>
                </a:gdLst>
                <a:ahLst/>
                <a:cxnLst>
                  <a:cxn ang="0">
                    <a:pos x="T0" y="T1"/>
                  </a:cxn>
                  <a:cxn ang="0">
                    <a:pos x="T2" y="T3"/>
                  </a:cxn>
                  <a:cxn ang="0">
                    <a:pos x="T4" y="T5"/>
                  </a:cxn>
                  <a:cxn ang="0">
                    <a:pos x="T6" y="T7"/>
                  </a:cxn>
                  <a:cxn ang="0">
                    <a:pos x="T8" y="T9"/>
                  </a:cxn>
                </a:cxnLst>
                <a:rect l="0" t="0" r="r" b="b"/>
                <a:pathLst>
                  <a:path w="558" h="253">
                    <a:moveTo>
                      <a:pt x="0" y="253"/>
                    </a:moveTo>
                    <a:lnTo>
                      <a:pt x="558" y="22"/>
                    </a:lnTo>
                    <a:lnTo>
                      <a:pt x="558" y="0"/>
                    </a:lnTo>
                    <a:lnTo>
                      <a:pt x="0" y="225"/>
                    </a:lnTo>
                    <a:lnTo>
                      <a:pt x="0" y="253"/>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9"/>
              <p:cNvSpPr>
                <a:spLocks/>
              </p:cNvSpPr>
              <p:nvPr/>
            </p:nvSpPr>
            <p:spPr bwMode="auto">
              <a:xfrm>
                <a:off x="4621213" y="2968625"/>
                <a:ext cx="885825" cy="417513"/>
              </a:xfrm>
              <a:custGeom>
                <a:avLst/>
                <a:gdLst>
                  <a:gd name="T0" fmla="*/ 0 w 558"/>
                  <a:gd name="T1" fmla="*/ 263 h 263"/>
                  <a:gd name="T2" fmla="*/ 558 w 558"/>
                  <a:gd name="T3" fmla="*/ 22 h 263"/>
                  <a:gd name="T4" fmla="*/ 558 w 558"/>
                  <a:gd name="T5" fmla="*/ 0 h 263"/>
                  <a:gd name="T6" fmla="*/ 0 w 558"/>
                  <a:gd name="T7" fmla="*/ 236 h 263"/>
                  <a:gd name="T8" fmla="*/ 0 w 558"/>
                  <a:gd name="T9" fmla="*/ 263 h 263"/>
                </a:gdLst>
                <a:ahLst/>
                <a:cxnLst>
                  <a:cxn ang="0">
                    <a:pos x="T0" y="T1"/>
                  </a:cxn>
                  <a:cxn ang="0">
                    <a:pos x="T2" y="T3"/>
                  </a:cxn>
                  <a:cxn ang="0">
                    <a:pos x="T4" y="T5"/>
                  </a:cxn>
                  <a:cxn ang="0">
                    <a:pos x="T6" y="T7"/>
                  </a:cxn>
                  <a:cxn ang="0">
                    <a:pos x="T8" y="T9"/>
                  </a:cxn>
                </a:cxnLst>
                <a:rect l="0" t="0" r="r" b="b"/>
                <a:pathLst>
                  <a:path w="558" h="263">
                    <a:moveTo>
                      <a:pt x="0" y="263"/>
                    </a:moveTo>
                    <a:lnTo>
                      <a:pt x="558" y="22"/>
                    </a:lnTo>
                    <a:lnTo>
                      <a:pt x="558" y="0"/>
                    </a:lnTo>
                    <a:lnTo>
                      <a:pt x="0" y="236"/>
                    </a:lnTo>
                    <a:lnTo>
                      <a:pt x="0" y="263"/>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0"/>
              <p:cNvSpPr>
                <a:spLocks/>
              </p:cNvSpPr>
              <p:nvPr/>
            </p:nvSpPr>
            <p:spPr bwMode="auto">
              <a:xfrm>
                <a:off x="4621213" y="3081338"/>
                <a:ext cx="885825" cy="444500"/>
              </a:xfrm>
              <a:custGeom>
                <a:avLst/>
                <a:gdLst>
                  <a:gd name="T0" fmla="*/ 0 w 558"/>
                  <a:gd name="T1" fmla="*/ 280 h 280"/>
                  <a:gd name="T2" fmla="*/ 558 w 558"/>
                  <a:gd name="T3" fmla="*/ 22 h 280"/>
                  <a:gd name="T4" fmla="*/ 558 w 558"/>
                  <a:gd name="T5" fmla="*/ 0 h 280"/>
                  <a:gd name="T6" fmla="*/ 0 w 558"/>
                  <a:gd name="T7" fmla="*/ 253 h 280"/>
                  <a:gd name="T8" fmla="*/ 0 w 558"/>
                  <a:gd name="T9" fmla="*/ 280 h 280"/>
                </a:gdLst>
                <a:ahLst/>
                <a:cxnLst>
                  <a:cxn ang="0">
                    <a:pos x="T0" y="T1"/>
                  </a:cxn>
                  <a:cxn ang="0">
                    <a:pos x="T2" y="T3"/>
                  </a:cxn>
                  <a:cxn ang="0">
                    <a:pos x="T4" y="T5"/>
                  </a:cxn>
                  <a:cxn ang="0">
                    <a:pos x="T6" y="T7"/>
                  </a:cxn>
                  <a:cxn ang="0">
                    <a:pos x="T8" y="T9"/>
                  </a:cxn>
                </a:cxnLst>
                <a:rect l="0" t="0" r="r" b="b"/>
                <a:pathLst>
                  <a:path w="558" h="280">
                    <a:moveTo>
                      <a:pt x="0" y="280"/>
                    </a:moveTo>
                    <a:lnTo>
                      <a:pt x="558" y="22"/>
                    </a:lnTo>
                    <a:lnTo>
                      <a:pt x="558" y="0"/>
                    </a:lnTo>
                    <a:lnTo>
                      <a:pt x="0" y="253"/>
                    </a:lnTo>
                    <a:lnTo>
                      <a:pt x="0" y="280"/>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1"/>
              <p:cNvSpPr>
                <a:spLocks/>
              </p:cNvSpPr>
              <p:nvPr/>
            </p:nvSpPr>
            <p:spPr bwMode="auto">
              <a:xfrm>
                <a:off x="4621213" y="3203575"/>
                <a:ext cx="885825" cy="461963"/>
              </a:xfrm>
              <a:custGeom>
                <a:avLst/>
                <a:gdLst>
                  <a:gd name="T0" fmla="*/ 0 w 558"/>
                  <a:gd name="T1" fmla="*/ 291 h 291"/>
                  <a:gd name="T2" fmla="*/ 558 w 558"/>
                  <a:gd name="T3" fmla="*/ 22 h 291"/>
                  <a:gd name="T4" fmla="*/ 558 w 558"/>
                  <a:gd name="T5" fmla="*/ 0 h 291"/>
                  <a:gd name="T6" fmla="*/ 0 w 558"/>
                  <a:gd name="T7" fmla="*/ 264 h 291"/>
                  <a:gd name="T8" fmla="*/ 0 w 558"/>
                  <a:gd name="T9" fmla="*/ 291 h 291"/>
                </a:gdLst>
                <a:ahLst/>
                <a:cxnLst>
                  <a:cxn ang="0">
                    <a:pos x="T0" y="T1"/>
                  </a:cxn>
                  <a:cxn ang="0">
                    <a:pos x="T2" y="T3"/>
                  </a:cxn>
                  <a:cxn ang="0">
                    <a:pos x="T4" y="T5"/>
                  </a:cxn>
                  <a:cxn ang="0">
                    <a:pos x="T6" y="T7"/>
                  </a:cxn>
                  <a:cxn ang="0">
                    <a:pos x="T8" y="T9"/>
                  </a:cxn>
                </a:cxnLst>
                <a:rect l="0" t="0" r="r" b="b"/>
                <a:pathLst>
                  <a:path w="558" h="291">
                    <a:moveTo>
                      <a:pt x="0" y="291"/>
                    </a:moveTo>
                    <a:lnTo>
                      <a:pt x="558" y="22"/>
                    </a:lnTo>
                    <a:lnTo>
                      <a:pt x="558" y="0"/>
                    </a:lnTo>
                    <a:lnTo>
                      <a:pt x="0" y="264"/>
                    </a:lnTo>
                    <a:lnTo>
                      <a:pt x="0" y="29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2"/>
              <p:cNvSpPr>
                <a:spLocks/>
              </p:cNvSpPr>
              <p:nvPr/>
            </p:nvSpPr>
            <p:spPr bwMode="auto">
              <a:xfrm>
                <a:off x="3736975" y="2027238"/>
                <a:ext cx="884237" cy="244475"/>
              </a:xfrm>
              <a:custGeom>
                <a:avLst/>
                <a:gdLst>
                  <a:gd name="T0" fmla="*/ 0 w 557"/>
                  <a:gd name="T1" fmla="*/ 0 h 154"/>
                  <a:gd name="T2" fmla="*/ 557 w 557"/>
                  <a:gd name="T3" fmla="*/ 126 h 154"/>
                  <a:gd name="T4" fmla="*/ 557 w 557"/>
                  <a:gd name="T5" fmla="*/ 154 h 154"/>
                  <a:gd name="T6" fmla="*/ 0 w 557"/>
                  <a:gd name="T7" fmla="*/ 22 h 154"/>
                  <a:gd name="T8" fmla="*/ 0 w 557"/>
                  <a:gd name="T9" fmla="*/ 0 h 154"/>
                </a:gdLst>
                <a:ahLst/>
                <a:cxnLst>
                  <a:cxn ang="0">
                    <a:pos x="T0" y="T1"/>
                  </a:cxn>
                  <a:cxn ang="0">
                    <a:pos x="T2" y="T3"/>
                  </a:cxn>
                  <a:cxn ang="0">
                    <a:pos x="T4" y="T5"/>
                  </a:cxn>
                  <a:cxn ang="0">
                    <a:pos x="T6" y="T7"/>
                  </a:cxn>
                  <a:cxn ang="0">
                    <a:pos x="T8" y="T9"/>
                  </a:cxn>
                </a:cxnLst>
                <a:rect l="0" t="0" r="r" b="b"/>
                <a:pathLst>
                  <a:path w="557" h="154">
                    <a:moveTo>
                      <a:pt x="0" y="0"/>
                    </a:moveTo>
                    <a:lnTo>
                      <a:pt x="557" y="126"/>
                    </a:lnTo>
                    <a:lnTo>
                      <a:pt x="557" y="154"/>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3"/>
              <p:cNvSpPr>
                <a:spLocks/>
              </p:cNvSpPr>
              <p:nvPr/>
            </p:nvSpPr>
            <p:spPr bwMode="auto">
              <a:xfrm>
                <a:off x="3736975" y="2139950"/>
                <a:ext cx="884237" cy="269875"/>
              </a:xfrm>
              <a:custGeom>
                <a:avLst/>
                <a:gdLst>
                  <a:gd name="T0" fmla="*/ 0 w 557"/>
                  <a:gd name="T1" fmla="*/ 0 h 170"/>
                  <a:gd name="T2" fmla="*/ 557 w 557"/>
                  <a:gd name="T3" fmla="*/ 143 h 170"/>
                  <a:gd name="T4" fmla="*/ 557 w 557"/>
                  <a:gd name="T5" fmla="*/ 170 h 170"/>
                  <a:gd name="T6" fmla="*/ 0 w 557"/>
                  <a:gd name="T7" fmla="*/ 22 h 170"/>
                  <a:gd name="T8" fmla="*/ 0 w 557"/>
                  <a:gd name="T9" fmla="*/ 0 h 170"/>
                </a:gdLst>
                <a:ahLst/>
                <a:cxnLst>
                  <a:cxn ang="0">
                    <a:pos x="T0" y="T1"/>
                  </a:cxn>
                  <a:cxn ang="0">
                    <a:pos x="T2" y="T3"/>
                  </a:cxn>
                  <a:cxn ang="0">
                    <a:pos x="T4" y="T5"/>
                  </a:cxn>
                  <a:cxn ang="0">
                    <a:pos x="T6" y="T7"/>
                  </a:cxn>
                  <a:cxn ang="0">
                    <a:pos x="T8" y="T9"/>
                  </a:cxn>
                </a:cxnLst>
                <a:rect l="0" t="0" r="r" b="b"/>
                <a:pathLst>
                  <a:path w="557" h="170">
                    <a:moveTo>
                      <a:pt x="0" y="0"/>
                    </a:moveTo>
                    <a:lnTo>
                      <a:pt x="557" y="143"/>
                    </a:lnTo>
                    <a:lnTo>
                      <a:pt x="557" y="170"/>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4"/>
              <p:cNvSpPr>
                <a:spLocks/>
              </p:cNvSpPr>
              <p:nvPr/>
            </p:nvSpPr>
            <p:spPr bwMode="auto">
              <a:xfrm>
                <a:off x="3736975" y="2262188"/>
                <a:ext cx="884237" cy="287338"/>
              </a:xfrm>
              <a:custGeom>
                <a:avLst/>
                <a:gdLst>
                  <a:gd name="T0" fmla="*/ 0 w 557"/>
                  <a:gd name="T1" fmla="*/ 0 h 181"/>
                  <a:gd name="T2" fmla="*/ 557 w 557"/>
                  <a:gd name="T3" fmla="*/ 154 h 181"/>
                  <a:gd name="T4" fmla="*/ 557 w 557"/>
                  <a:gd name="T5" fmla="*/ 181 h 181"/>
                  <a:gd name="T6" fmla="*/ 0 w 557"/>
                  <a:gd name="T7" fmla="*/ 22 h 181"/>
                  <a:gd name="T8" fmla="*/ 0 w 557"/>
                  <a:gd name="T9" fmla="*/ 0 h 181"/>
                </a:gdLst>
                <a:ahLst/>
                <a:cxnLst>
                  <a:cxn ang="0">
                    <a:pos x="T0" y="T1"/>
                  </a:cxn>
                  <a:cxn ang="0">
                    <a:pos x="T2" y="T3"/>
                  </a:cxn>
                  <a:cxn ang="0">
                    <a:pos x="T4" y="T5"/>
                  </a:cxn>
                  <a:cxn ang="0">
                    <a:pos x="T6" y="T7"/>
                  </a:cxn>
                  <a:cxn ang="0">
                    <a:pos x="T8" y="T9"/>
                  </a:cxn>
                </a:cxnLst>
                <a:rect l="0" t="0" r="r" b="b"/>
                <a:pathLst>
                  <a:path w="557" h="181">
                    <a:moveTo>
                      <a:pt x="0" y="0"/>
                    </a:moveTo>
                    <a:lnTo>
                      <a:pt x="557" y="154"/>
                    </a:lnTo>
                    <a:lnTo>
                      <a:pt x="557" y="181"/>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5"/>
              <p:cNvSpPr>
                <a:spLocks/>
              </p:cNvSpPr>
              <p:nvPr/>
            </p:nvSpPr>
            <p:spPr bwMode="auto">
              <a:xfrm>
                <a:off x="3736975" y="2376488"/>
                <a:ext cx="884237" cy="312738"/>
              </a:xfrm>
              <a:custGeom>
                <a:avLst/>
                <a:gdLst>
                  <a:gd name="T0" fmla="*/ 0 w 557"/>
                  <a:gd name="T1" fmla="*/ 0 h 197"/>
                  <a:gd name="T2" fmla="*/ 557 w 557"/>
                  <a:gd name="T3" fmla="*/ 170 h 197"/>
                  <a:gd name="T4" fmla="*/ 557 w 557"/>
                  <a:gd name="T5" fmla="*/ 197 h 197"/>
                  <a:gd name="T6" fmla="*/ 0 w 557"/>
                  <a:gd name="T7" fmla="*/ 21 h 197"/>
                  <a:gd name="T8" fmla="*/ 0 w 557"/>
                  <a:gd name="T9" fmla="*/ 0 h 197"/>
                </a:gdLst>
                <a:ahLst/>
                <a:cxnLst>
                  <a:cxn ang="0">
                    <a:pos x="T0" y="T1"/>
                  </a:cxn>
                  <a:cxn ang="0">
                    <a:pos x="T2" y="T3"/>
                  </a:cxn>
                  <a:cxn ang="0">
                    <a:pos x="T4" y="T5"/>
                  </a:cxn>
                  <a:cxn ang="0">
                    <a:pos x="T6" y="T7"/>
                  </a:cxn>
                  <a:cxn ang="0">
                    <a:pos x="T8" y="T9"/>
                  </a:cxn>
                </a:cxnLst>
                <a:rect l="0" t="0" r="r" b="b"/>
                <a:pathLst>
                  <a:path w="557" h="197">
                    <a:moveTo>
                      <a:pt x="0" y="0"/>
                    </a:moveTo>
                    <a:lnTo>
                      <a:pt x="557" y="170"/>
                    </a:lnTo>
                    <a:lnTo>
                      <a:pt x="557" y="197"/>
                    </a:lnTo>
                    <a:lnTo>
                      <a:pt x="0" y="21"/>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6"/>
              <p:cNvSpPr>
                <a:spLocks/>
              </p:cNvSpPr>
              <p:nvPr/>
            </p:nvSpPr>
            <p:spPr bwMode="auto">
              <a:xfrm>
                <a:off x="3736975" y="2497138"/>
                <a:ext cx="884237" cy="331788"/>
              </a:xfrm>
              <a:custGeom>
                <a:avLst/>
                <a:gdLst>
                  <a:gd name="T0" fmla="*/ 0 w 557"/>
                  <a:gd name="T1" fmla="*/ 0 h 209"/>
                  <a:gd name="T2" fmla="*/ 557 w 557"/>
                  <a:gd name="T3" fmla="*/ 182 h 209"/>
                  <a:gd name="T4" fmla="*/ 557 w 557"/>
                  <a:gd name="T5" fmla="*/ 209 h 209"/>
                  <a:gd name="T6" fmla="*/ 0 w 557"/>
                  <a:gd name="T7" fmla="*/ 22 h 209"/>
                  <a:gd name="T8" fmla="*/ 0 w 557"/>
                  <a:gd name="T9" fmla="*/ 0 h 209"/>
                </a:gdLst>
                <a:ahLst/>
                <a:cxnLst>
                  <a:cxn ang="0">
                    <a:pos x="T0" y="T1"/>
                  </a:cxn>
                  <a:cxn ang="0">
                    <a:pos x="T2" y="T3"/>
                  </a:cxn>
                  <a:cxn ang="0">
                    <a:pos x="T4" y="T5"/>
                  </a:cxn>
                  <a:cxn ang="0">
                    <a:pos x="T6" y="T7"/>
                  </a:cxn>
                  <a:cxn ang="0">
                    <a:pos x="T8" y="T9"/>
                  </a:cxn>
                </a:cxnLst>
                <a:rect l="0" t="0" r="r" b="b"/>
                <a:pathLst>
                  <a:path w="557" h="209">
                    <a:moveTo>
                      <a:pt x="0" y="0"/>
                    </a:moveTo>
                    <a:lnTo>
                      <a:pt x="557" y="182"/>
                    </a:lnTo>
                    <a:lnTo>
                      <a:pt x="557" y="209"/>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7"/>
              <p:cNvSpPr>
                <a:spLocks/>
              </p:cNvSpPr>
              <p:nvPr/>
            </p:nvSpPr>
            <p:spPr bwMode="auto">
              <a:xfrm>
                <a:off x="3736975" y="2611438"/>
                <a:ext cx="884237" cy="357188"/>
              </a:xfrm>
              <a:custGeom>
                <a:avLst/>
                <a:gdLst>
                  <a:gd name="T0" fmla="*/ 0 w 557"/>
                  <a:gd name="T1" fmla="*/ 0 h 225"/>
                  <a:gd name="T2" fmla="*/ 557 w 557"/>
                  <a:gd name="T3" fmla="*/ 197 h 225"/>
                  <a:gd name="T4" fmla="*/ 557 w 557"/>
                  <a:gd name="T5" fmla="*/ 225 h 225"/>
                  <a:gd name="T6" fmla="*/ 0 w 557"/>
                  <a:gd name="T7" fmla="*/ 27 h 225"/>
                  <a:gd name="T8" fmla="*/ 0 w 557"/>
                  <a:gd name="T9" fmla="*/ 0 h 225"/>
                </a:gdLst>
                <a:ahLst/>
                <a:cxnLst>
                  <a:cxn ang="0">
                    <a:pos x="T0" y="T1"/>
                  </a:cxn>
                  <a:cxn ang="0">
                    <a:pos x="T2" y="T3"/>
                  </a:cxn>
                  <a:cxn ang="0">
                    <a:pos x="T4" y="T5"/>
                  </a:cxn>
                  <a:cxn ang="0">
                    <a:pos x="T6" y="T7"/>
                  </a:cxn>
                  <a:cxn ang="0">
                    <a:pos x="T8" y="T9"/>
                  </a:cxn>
                </a:cxnLst>
                <a:rect l="0" t="0" r="r" b="b"/>
                <a:pathLst>
                  <a:path w="557" h="225">
                    <a:moveTo>
                      <a:pt x="0" y="0"/>
                    </a:moveTo>
                    <a:lnTo>
                      <a:pt x="557" y="197"/>
                    </a:lnTo>
                    <a:lnTo>
                      <a:pt x="557" y="225"/>
                    </a:lnTo>
                    <a:lnTo>
                      <a:pt x="0" y="27"/>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8"/>
              <p:cNvSpPr>
                <a:spLocks/>
              </p:cNvSpPr>
              <p:nvPr/>
            </p:nvSpPr>
            <p:spPr bwMode="auto">
              <a:xfrm>
                <a:off x="3736975" y="2733675"/>
                <a:ext cx="884237" cy="374650"/>
              </a:xfrm>
              <a:custGeom>
                <a:avLst/>
                <a:gdLst>
                  <a:gd name="T0" fmla="*/ 0 w 557"/>
                  <a:gd name="T1" fmla="*/ 0 h 236"/>
                  <a:gd name="T2" fmla="*/ 557 w 557"/>
                  <a:gd name="T3" fmla="*/ 208 h 236"/>
                  <a:gd name="T4" fmla="*/ 557 w 557"/>
                  <a:gd name="T5" fmla="*/ 236 h 236"/>
                  <a:gd name="T6" fmla="*/ 0 w 557"/>
                  <a:gd name="T7" fmla="*/ 22 h 236"/>
                  <a:gd name="T8" fmla="*/ 0 w 557"/>
                  <a:gd name="T9" fmla="*/ 0 h 236"/>
                </a:gdLst>
                <a:ahLst/>
                <a:cxnLst>
                  <a:cxn ang="0">
                    <a:pos x="T0" y="T1"/>
                  </a:cxn>
                  <a:cxn ang="0">
                    <a:pos x="T2" y="T3"/>
                  </a:cxn>
                  <a:cxn ang="0">
                    <a:pos x="T4" y="T5"/>
                  </a:cxn>
                  <a:cxn ang="0">
                    <a:pos x="T6" y="T7"/>
                  </a:cxn>
                  <a:cxn ang="0">
                    <a:pos x="T8" y="T9"/>
                  </a:cxn>
                </a:cxnLst>
                <a:rect l="0" t="0" r="r" b="b"/>
                <a:pathLst>
                  <a:path w="557" h="236">
                    <a:moveTo>
                      <a:pt x="0" y="0"/>
                    </a:moveTo>
                    <a:lnTo>
                      <a:pt x="557" y="208"/>
                    </a:lnTo>
                    <a:lnTo>
                      <a:pt x="557" y="236"/>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9"/>
              <p:cNvSpPr>
                <a:spLocks/>
              </p:cNvSpPr>
              <p:nvPr/>
            </p:nvSpPr>
            <p:spPr bwMode="auto">
              <a:xfrm>
                <a:off x="3736975" y="2855913"/>
                <a:ext cx="884237" cy="392113"/>
              </a:xfrm>
              <a:custGeom>
                <a:avLst/>
                <a:gdLst>
                  <a:gd name="T0" fmla="*/ 0 w 557"/>
                  <a:gd name="T1" fmla="*/ 0 h 247"/>
                  <a:gd name="T2" fmla="*/ 557 w 557"/>
                  <a:gd name="T3" fmla="*/ 219 h 247"/>
                  <a:gd name="T4" fmla="*/ 557 w 557"/>
                  <a:gd name="T5" fmla="*/ 247 h 247"/>
                  <a:gd name="T6" fmla="*/ 0 w 557"/>
                  <a:gd name="T7" fmla="*/ 21 h 247"/>
                  <a:gd name="T8" fmla="*/ 0 w 557"/>
                  <a:gd name="T9" fmla="*/ 0 h 247"/>
                </a:gdLst>
                <a:ahLst/>
                <a:cxnLst>
                  <a:cxn ang="0">
                    <a:pos x="T0" y="T1"/>
                  </a:cxn>
                  <a:cxn ang="0">
                    <a:pos x="T2" y="T3"/>
                  </a:cxn>
                  <a:cxn ang="0">
                    <a:pos x="T4" y="T5"/>
                  </a:cxn>
                  <a:cxn ang="0">
                    <a:pos x="T6" y="T7"/>
                  </a:cxn>
                  <a:cxn ang="0">
                    <a:pos x="T8" y="T9"/>
                  </a:cxn>
                </a:cxnLst>
                <a:rect l="0" t="0" r="r" b="b"/>
                <a:pathLst>
                  <a:path w="557" h="247">
                    <a:moveTo>
                      <a:pt x="0" y="0"/>
                    </a:moveTo>
                    <a:lnTo>
                      <a:pt x="557" y="219"/>
                    </a:lnTo>
                    <a:lnTo>
                      <a:pt x="557" y="247"/>
                    </a:lnTo>
                    <a:lnTo>
                      <a:pt x="0" y="21"/>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0"/>
              <p:cNvSpPr>
                <a:spLocks/>
              </p:cNvSpPr>
              <p:nvPr/>
            </p:nvSpPr>
            <p:spPr bwMode="auto">
              <a:xfrm>
                <a:off x="3736975" y="2968625"/>
                <a:ext cx="884237" cy="417513"/>
              </a:xfrm>
              <a:custGeom>
                <a:avLst/>
                <a:gdLst>
                  <a:gd name="T0" fmla="*/ 0 w 557"/>
                  <a:gd name="T1" fmla="*/ 0 h 263"/>
                  <a:gd name="T2" fmla="*/ 557 w 557"/>
                  <a:gd name="T3" fmla="*/ 236 h 263"/>
                  <a:gd name="T4" fmla="*/ 557 w 557"/>
                  <a:gd name="T5" fmla="*/ 263 h 263"/>
                  <a:gd name="T6" fmla="*/ 0 w 557"/>
                  <a:gd name="T7" fmla="*/ 22 h 263"/>
                  <a:gd name="T8" fmla="*/ 0 w 557"/>
                  <a:gd name="T9" fmla="*/ 0 h 263"/>
                </a:gdLst>
                <a:ahLst/>
                <a:cxnLst>
                  <a:cxn ang="0">
                    <a:pos x="T0" y="T1"/>
                  </a:cxn>
                  <a:cxn ang="0">
                    <a:pos x="T2" y="T3"/>
                  </a:cxn>
                  <a:cxn ang="0">
                    <a:pos x="T4" y="T5"/>
                  </a:cxn>
                  <a:cxn ang="0">
                    <a:pos x="T6" y="T7"/>
                  </a:cxn>
                  <a:cxn ang="0">
                    <a:pos x="T8" y="T9"/>
                  </a:cxn>
                </a:cxnLst>
                <a:rect l="0" t="0" r="r" b="b"/>
                <a:pathLst>
                  <a:path w="557" h="263">
                    <a:moveTo>
                      <a:pt x="0" y="0"/>
                    </a:moveTo>
                    <a:lnTo>
                      <a:pt x="557" y="236"/>
                    </a:lnTo>
                    <a:lnTo>
                      <a:pt x="557" y="263"/>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1"/>
              <p:cNvSpPr>
                <a:spLocks/>
              </p:cNvSpPr>
              <p:nvPr/>
            </p:nvSpPr>
            <p:spPr bwMode="auto">
              <a:xfrm>
                <a:off x="3736975" y="3090863"/>
                <a:ext cx="884237" cy="434975"/>
              </a:xfrm>
              <a:custGeom>
                <a:avLst/>
                <a:gdLst>
                  <a:gd name="T0" fmla="*/ 0 w 557"/>
                  <a:gd name="T1" fmla="*/ 0 h 274"/>
                  <a:gd name="T2" fmla="*/ 557 w 557"/>
                  <a:gd name="T3" fmla="*/ 247 h 274"/>
                  <a:gd name="T4" fmla="*/ 557 w 557"/>
                  <a:gd name="T5" fmla="*/ 274 h 274"/>
                  <a:gd name="T6" fmla="*/ 0 w 557"/>
                  <a:gd name="T7" fmla="*/ 22 h 274"/>
                  <a:gd name="T8" fmla="*/ 0 w 557"/>
                  <a:gd name="T9" fmla="*/ 0 h 274"/>
                </a:gdLst>
                <a:ahLst/>
                <a:cxnLst>
                  <a:cxn ang="0">
                    <a:pos x="T0" y="T1"/>
                  </a:cxn>
                  <a:cxn ang="0">
                    <a:pos x="T2" y="T3"/>
                  </a:cxn>
                  <a:cxn ang="0">
                    <a:pos x="T4" y="T5"/>
                  </a:cxn>
                  <a:cxn ang="0">
                    <a:pos x="T6" y="T7"/>
                  </a:cxn>
                  <a:cxn ang="0">
                    <a:pos x="T8" y="T9"/>
                  </a:cxn>
                </a:cxnLst>
                <a:rect l="0" t="0" r="r" b="b"/>
                <a:pathLst>
                  <a:path w="557" h="274">
                    <a:moveTo>
                      <a:pt x="0" y="0"/>
                    </a:moveTo>
                    <a:lnTo>
                      <a:pt x="557" y="247"/>
                    </a:lnTo>
                    <a:lnTo>
                      <a:pt x="557" y="274"/>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2"/>
              <p:cNvSpPr>
                <a:spLocks/>
              </p:cNvSpPr>
              <p:nvPr/>
            </p:nvSpPr>
            <p:spPr bwMode="auto">
              <a:xfrm>
                <a:off x="3736975" y="3213100"/>
                <a:ext cx="884237" cy="452438"/>
              </a:xfrm>
              <a:custGeom>
                <a:avLst/>
                <a:gdLst>
                  <a:gd name="T0" fmla="*/ 0 w 557"/>
                  <a:gd name="T1" fmla="*/ 0 h 285"/>
                  <a:gd name="T2" fmla="*/ 557 w 557"/>
                  <a:gd name="T3" fmla="*/ 258 h 285"/>
                  <a:gd name="T4" fmla="*/ 557 w 557"/>
                  <a:gd name="T5" fmla="*/ 285 h 285"/>
                  <a:gd name="T6" fmla="*/ 0 w 557"/>
                  <a:gd name="T7" fmla="*/ 22 h 285"/>
                  <a:gd name="T8" fmla="*/ 0 w 557"/>
                  <a:gd name="T9" fmla="*/ 0 h 285"/>
                </a:gdLst>
                <a:ahLst/>
                <a:cxnLst>
                  <a:cxn ang="0">
                    <a:pos x="T0" y="T1"/>
                  </a:cxn>
                  <a:cxn ang="0">
                    <a:pos x="T2" y="T3"/>
                  </a:cxn>
                  <a:cxn ang="0">
                    <a:pos x="T4" y="T5"/>
                  </a:cxn>
                  <a:cxn ang="0">
                    <a:pos x="T6" y="T7"/>
                  </a:cxn>
                  <a:cxn ang="0">
                    <a:pos x="T8" y="T9"/>
                  </a:cxn>
                </a:cxnLst>
                <a:rect l="0" t="0" r="r" b="b"/>
                <a:pathLst>
                  <a:path w="557" h="285">
                    <a:moveTo>
                      <a:pt x="0" y="0"/>
                    </a:moveTo>
                    <a:lnTo>
                      <a:pt x="557" y="258"/>
                    </a:lnTo>
                    <a:lnTo>
                      <a:pt x="557" y="285"/>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93"/>
              <p:cNvSpPr>
                <a:spLocks/>
              </p:cNvSpPr>
              <p:nvPr/>
            </p:nvSpPr>
            <p:spPr bwMode="auto">
              <a:xfrm>
                <a:off x="4117975" y="1695450"/>
                <a:ext cx="304800" cy="261938"/>
              </a:xfrm>
              <a:custGeom>
                <a:avLst/>
                <a:gdLst>
                  <a:gd name="T0" fmla="*/ 192 w 192"/>
                  <a:gd name="T1" fmla="*/ 165 h 165"/>
                  <a:gd name="T2" fmla="*/ 0 w 192"/>
                  <a:gd name="T3" fmla="*/ 127 h 165"/>
                  <a:gd name="T4" fmla="*/ 0 w 192"/>
                  <a:gd name="T5" fmla="*/ 0 h 165"/>
                  <a:gd name="T6" fmla="*/ 192 w 192"/>
                  <a:gd name="T7" fmla="*/ 33 h 165"/>
                  <a:gd name="T8" fmla="*/ 192 w 192"/>
                  <a:gd name="T9" fmla="*/ 165 h 165"/>
                </a:gdLst>
                <a:ahLst/>
                <a:cxnLst>
                  <a:cxn ang="0">
                    <a:pos x="T0" y="T1"/>
                  </a:cxn>
                  <a:cxn ang="0">
                    <a:pos x="T2" y="T3"/>
                  </a:cxn>
                  <a:cxn ang="0">
                    <a:pos x="T4" y="T5"/>
                  </a:cxn>
                  <a:cxn ang="0">
                    <a:pos x="T6" y="T7"/>
                  </a:cxn>
                  <a:cxn ang="0">
                    <a:pos x="T8" y="T9"/>
                  </a:cxn>
                </a:cxnLst>
                <a:rect l="0" t="0" r="r" b="b"/>
                <a:pathLst>
                  <a:path w="192" h="165">
                    <a:moveTo>
                      <a:pt x="192" y="165"/>
                    </a:moveTo>
                    <a:lnTo>
                      <a:pt x="0" y="127"/>
                    </a:lnTo>
                    <a:lnTo>
                      <a:pt x="0" y="0"/>
                    </a:lnTo>
                    <a:lnTo>
                      <a:pt x="192" y="33"/>
                    </a:lnTo>
                    <a:lnTo>
                      <a:pt x="192" y="165"/>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4"/>
              <p:cNvSpPr>
                <a:spLocks/>
              </p:cNvSpPr>
              <p:nvPr/>
            </p:nvSpPr>
            <p:spPr bwMode="auto">
              <a:xfrm>
                <a:off x="4803775" y="1730375"/>
                <a:ext cx="225425" cy="234950"/>
              </a:xfrm>
              <a:custGeom>
                <a:avLst/>
                <a:gdLst>
                  <a:gd name="T0" fmla="*/ 142 w 142"/>
                  <a:gd name="T1" fmla="*/ 0 h 148"/>
                  <a:gd name="T2" fmla="*/ 0 w 142"/>
                  <a:gd name="T3" fmla="*/ 22 h 148"/>
                  <a:gd name="T4" fmla="*/ 0 w 142"/>
                  <a:gd name="T5" fmla="*/ 148 h 148"/>
                  <a:gd name="T6" fmla="*/ 142 w 142"/>
                  <a:gd name="T7" fmla="*/ 121 h 148"/>
                  <a:gd name="T8" fmla="*/ 142 w 142"/>
                  <a:gd name="T9" fmla="*/ 0 h 148"/>
                </a:gdLst>
                <a:ahLst/>
                <a:cxnLst>
                  <a:cxn ang="0">
                    <a:pos x="T0" y="T1"/>
                  </a:cxn>
                  <a:cxn ang="0">
                    <a:pos x="T2" y="T3"/>
                  </a:cxn>
                  <a:cxn ang="0">
                    <a:pos x="T4" y="T5"/>
                  </a:cxn>
                  <a:cxn ang="0">
                    <a:pos x="T6" y="T7"/>
                  </a:cxn>
                  <a:cxn ang="0">
                    <a:pos x="T8" y="T9"/>
                  </a:cxn>
                </a:cxnLst>
                <a:rect l="0" t="0" r="r" b="b"/>
                <a:pathLst>
                  <a:path w="142" h="148">
                    <a:moveTo>
                      <a:pt x="142" y="0"/>
                    </a:moveTo>
                    <a:lnTo>
                      <a:pt x="0" y="22"/>
                    </a:lnTo>
                    <a:lnTo>
                      <a:pt x="0" y="148"/>
                    </a:lnTo>
                    <a:lnTo>
                      <a:pt x="142" y="121"/>
                    </a:lnTo>
                    <a:lnTo>
                      <a:pt x="142" y="0"/>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5"/>
              <p:cNvSpPr>
                <a:spLocks/>
              </p:cNvSpPr>
              <p:nvPr/>
            </p:nvSpPr>
            <p:spPr bwMode="auto">
              <a:xfrm>
                <a:off x="4352925" y="1120775"/>
                <a:ext cx="260350" cy="34925"/>
              </a:xfrm>
              <a:custGeom>
                <a:avLst/>
                <a:gdLst>
                  <a:gd name="T0" fmla="*/ 164 w 164"/>
                  <a:gd name="T1" fmla="*/ 22 h 22"/>
                  <a:gd name="T2" fmla="*/ 0 w 164"/>
                  <a:gd name="T3" fmla="*/ 16 h 22"/>
                  <a:gd name="T4" fmla="*/ 0 w 164"/>
                  <a:gd name="T5" fmla="*/ 0 h 22"/>
                  <a:gd name="T6" fmla="*/ 164 w 164"/>
                  <a:gd name="T7" fmla="*/ 11 h 22"/>
                  <a:gd name="T8" fmla="*/ 164 w 164"/>
                  <a:gd name="T9" fmla="*/ 22 h 22"/>
                </a:gdLst>
                <a:ahLst/>
                <a:cxnLst>
                  <a:cxn ang="0">
                    <a:pos x="T0" y="T1"/>
                  </a:cxn>
                  <a:cxn ang="0">
                    <a:pos x="T2" y="T3"/>
                  </a:cxn>
                  <a:cxn ang="0">
                    <a:pos x="T4" y="T5"/>
                  </a:cxn>
                  <a:cxn ang="0">
                    <a:pos x="T6" y="T7"/>
                  </a:cxn>
                  <a:cxn ang="0">
                    <a:pos x="T8" y="T9"/>
                  </a:cxn>
                </a:cxnLst>
                <a:rect l="0" t="0" r="r" b="b"/>
                <a:pathLst>
                  <a:path w="164" h="22">
                    <a:moveTo>
                      <a:pt x="164" y="22"/>
                    </a:moveTo>
                    <a:lnTo>
                      <a:pt x="0" y="16"/>
                    </a:lnTo>
                    <a:lnTo>
                      <a:pt x="0" y="0"/>
                    </a:lnTo>
                    <a:lnTo>
                      <a:pt x="164" y="11"/>
                    </a:lnTo>
                    <a:lnTo>
                      <a:pt x="164" y="22"/>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96"/>
              <p:cNvSpPr>
                <a:spLocks/>
              </p:cNvSpPr>
              <p:nvPr/>
            </p:nvSpPr>
            <p:spPr bwMode="auto">
              <a:xfrm>
                <a:off x="4352925" y="1198563"/>
                <a:ext cx="260350" cy="34925"/>
              </a:xfrm>
              <a:custGeom>
                <a:avLst/>
                <a:gdLst>
                  <a:gd name="T0" fmla="*/ 164 w 164"/>
                  <a:gd name="T1" fmla="*/ 22 h 22"/>
                  <a:gd name="T2" fmla="*/ 0 w 164"/>
                  <a:gd name="T3" fmla="*/ 11 h 22"/>
                  <a:gd name="T4" fmla="*/ 0 w 164"/>
                  <a:gd name="T5" fmla="*/ 0 h 22"/>
                  <a:gd name="T6" fmla="*/ 164 w 164"/>
                  <a:gd name="T7" fmla="*/ 11 h 22"/>
                  <a:gd name="T8" fmla="*/ 164 w 164"/>
                  <a:gd name="T9" fmla="*/ 22 h 22"/>
                </a:gdLst>
                <a:ahLst/>
                <a:cxnLst>
                  <a:cxn ang="0">
                    <a:pos x="T0" y="T1"/>
                  </a:cxn>
                  <a:cxn ang="0">
                    <a:pos x="T2" y="T3"/>
                  </a:cxn>
                  <a:cxn ang="0">
                    <a:pos x="T4" y="T5"/>
                  </a:cxn>
                  <a:cxn ang="0">
                    <a:pos x="T6" y="T7"/>
                  </a:cxn>
                  <a:cxn ang="0">
                    <a:pos x="T8" y="T9"/>
                  </a:cxn>
                </a:cxnLst>
                <a:rect l="0" t="0" r="r" b="b"/>
                <a:pathLst>
                  <a:path w="164" h="22">
                    <a:moveTo>
                      <a:pt x="164" y="22"/>
                    </a:moveTo>
                    <a:lnTo>
                      <a:pt x="0" y="11"/>
                    </a:lnTo>
                    <a:lnTo>
                      <a:pt x="0" y="0"/>
                    </a:lnTo>
                    <a:lnTo>
                      <a:pt x="164" y="11"/>
                    </a:lnTo>
                    <a:lnTo>
                      <a:pt x="164" y="22"/>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7"/>
              <p:cNvSpPr>
                <a:spLocks/>
              </p:cNvSpPr>
              <p:nvPr/>
            </p:nvSpPr>
            <p:spPr bwMode="auto">
              <a:xfrm>
                <a:off x="4352925" y="1277938"/>
                <a:ext cx="260350" cy="34925"/>
              </a:xfrm>
              <a:custGeom>
                <a:avLst/>
                <a:gdLst>
                  <a:gd name="T0" fmla="*/ 164 w 164"/>
                  <a:gd name="T1" fmla="*/ 22 h 22"/>
                  <a:gd name="T2" fmla="*/ 0 w 164"/>
                  <a:gd name="T3" fmla="*/ 11 h 22"/>
                  <a:gd name="T4" fmla="*/ 0 w 164"/>
                  <a:gd name="T5" fmla="*/ 0 h 22"/>
                  <a:gd name="T6" fmla="*/ 164 w 164"/>
                  <a:gd name="T7" fmla="*/ 11 h 22"/>
                  <a:gd name="T8" fmla="*/ 164 w 164"/>
                  <a:gd name="T9" fmla="*/ 22 h 22"/>
                </a:gdLst>
                <a:ahLst/>
                <a:cxnLst>
                  <a:cxn ang="0">
                    <a:pos x="T0" y="T1"/>
                  </a:cxn>
                  <a:cxn ang="0">
                    <a:pos x="T2" y="T3"/>
                  </a:cxn>
                  <a:cxn ang="0">
                    <a:pos x="T4" y="T5"/>
                  </a:cxn>
                  <a:cxn ang="0">
                    <a:pos x="T6" y="T7"/>
                  </a:cxn>
                  <a:cxn ang="0">
                    <a:pos x="T8" y="T9"/>
                  </a:cxn>
                </a:cxnLst>
                <a:rect l="0" t="0" r="r" b="b"/>
                <a:pathLst>
                  <a:path w="164" h="22">
                    <a:moveTo>
                      <a:pt x="164" y="22"/>
                    </a:moveTo>
                    <a:lnTo>
                      <a:pt x="0" y="11"/>
                    </a:lnTo>
                    <a:lnTo>
                      <a:pt x="0" y="0"/>
                    </a:lnTo>
                    <a:lnTo>
                      <a:pt x="164" y="11"/>
                    </a:lnTo>
                    <a:lnTo>
                      <a:pt x="164" y="22"/>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8"/>
              <p:cNvSpPr>
                <a:spLocks/>
              </p:cNvSpPr>
              <p:nvPr/>
            </p:nvSpPr>
            <p:spPr bwMode="auto">
              <a:xfrm>
                <a:off x="4613275" y="1128713"/>
                <a:ext cx="252412" cy="26988"/>
              </a:xfrm>
              <a:custGeom>
                <a:avLst/>
                <a:gdLst>
                  <a:gd name="T0" fmla="*/ 159 w 159"/>
                  <a:gd name="T1" fmla="*/ 11 h 17"/>
                  <a:gd name="T2" fmla="*/ 0 w 159"/>
                  <a:gd name="T3" fmla="*/ 17 h 17"/>
                  <a:gd name="T4" fmla="*/ 0 w 159"/>
                  <a:gd name="T5" fmla="*/ 6 h 17"/>
                  <a:gd name="T6" fmla="*/ 159 w 159"/>
                  <a:gd name="T7" fmla="*/ 0 h 17"/>
                  <a:gd name="T8" fmla="*/ 159 w 159"/>
                  <a:gd name="T9" fmla="*/ 11 h 17"/>
                </a:gdLst>
                <a:ahLst/>
                <a:cxnLst>
                  <a:cxn ang="0">
                    <a:pos x="T0" y="T1"/>
                  </a:cxn>
                  <a:cxn ang="0">
                    <a:pos x="T2" y="T3"/>
                  </a:cxn>
                  <a:cxn ang="0">
                    <a:pos x="T4" y="T5"/>
                  </a:cxn>
                  <a:cxn ang="0">
                    <a:pos x="T6" y="T7"/>
                  </a:cxn>
                  <a:cxn ang="0">
                    <a:pos x="T8" y="T9"/>
                  </a:cxn>
                </a:cxnLst>
                <a:rect l="0" t="0" r="r" b="b"/>
                <a:pathLst>
                  <a:path w="159" h="17">
                    <a:moveTo>
                      <a:pt x="159" y="11"/>
                    </a:moveTo>
                    <a:lnTo>
                      <a:pt x="0" y="17"/>
                    </a:lnTo>
                    <a:lnTo>
                      <a:pt x="0" y="6"/>
                    </a:lnTo>
                    <a:lnTo>
                      <a:pt x="159" y="0"/>
                    </a:lnTo>
                    <a:lnTo>
                      <a:pt x="159" y="1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99"/>
              <p:cNvSpPr>
                <a:spLocks/>
              </p:cNvSpPr>
              <p:nvPr/>
            </p:nvSpPr>
            <p:spPr bwMode="auto">
              <a:xfrm>
                <a:off x="4613275" y="1198563"/>
                <a:ext cx="252412" cy="34925"/>
              </a:xfrm>
              <a:custGeom>
                <a:avLst/>
                <a:gdLst>
                  <a:gd name="T0" fmla="*/ 159 w 159"/>
                  <a:gd name="T1" fmla="*/ 11 h 22"/>
                  <a:gd name="T2" fmla="*/ 0 w 159"/>
                  <a:gd name="T3" fmla="*/ 22 h 22"/>
                  <a:gd name="T4" fmla="*/ 0 w 159"/>
                  <a:gd name="T5" fmla="*/ 11 h 22"/>
                  <a:gd name="T6" fmla="*/ 159 w 159"/>
                  <a:gd name="T7" fmla="*/ 0 h 22"/>
                  <a:gd name="T8" fmla="*/ 159 w 159"/>
                  <a:gd name="T9" fmla="*/ 11 h 22"/>
                </a:gdLst>
                <a:ahLst/>
                <a:cxnLst>
                  <a:cxn ang="0">
                    <a:pos x="T0" y="T1"/>
                  </a:cxn>
                  <a:cxn ang="0">
                    <a:pos x="T2" y="T3"/>
                  </a:cxn>
                  <a:cxn ang="0">
                    <a:pos x="T4" y="T5"/>
                  </a:cxn>
                  <a:cxn ang="0">
                    <a:pos x="T6" y="T7"/>
                  </a:cxn>
                  <a:cxn ang="0">
                    <a:pos x="T8" y="T9"/>
                  </a:cxn>
                </a:cxnLst>
                <a:rect l="0" t="0" r="r" b="b"/>
                <a:pathLst>
                  <a:path w="159" h="22">
                    <a:moveTo>
                      <a:pt x="159" y="11"/>
                    </a:moveTo>
                    <a:lnTo>
                      <a:pt x="0" y="22"/>
                    </a:lnTo>
                    <a:lnTo>
                      <a:pt x="0" y="11"/>
                    </a:lnTo>
                    <a:lnTo>
                      <a:pt x="159" y="0"/>
                    </a:lnTo>
                    <a:lnTo>
                      <a:pt x="159" y="1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00"/>
              <p:cNvSpPr>
                <a:spLocks/>
              </p:cNvSpPr>
              <p:nvPr/>
            </p:nvSpPr>
            <p:spPr bwMode="auto">
              <a:xfrm>
                <a:off x="4613275" y="1277938"/>
                <a:ext cx="252412" cy="34925"/>
              </a:xfrm>
              <a:custGeom>
                <a:avLst/>
                <a:gdLst>
                  <a:gd name="T0" fmla="*/ 159 w 159"/>
                  <a:gd name="T1" fmla="*/ 11 h 22"/>
                  <a:gd name="T2" fmla="*/ 0 w 159"/>
                  <a:gd name="T3" fmla="*/ 22 h 22"/>
                  <a:gd name="T4" fmla="*/ 0 w 159"/>
                  <a:gd name="T5" fmla="*/ 11 h 22"/>
                  <a:gd name="T6" fmla="*/ 159 w 159"/>
                  <a:gd name="T7" fmla="*/ 0 h 22"/>
                  <a:gd name="T8" fmla="*/ 159 w 159"/>
                  <a:gd name="T9" fmla="*/ 11 h 22"/>
                </a:gdLst>
                <a:ahLst/>
                <a:cxnLst>
                  <a:cxn ang="0">
                    <a:pos x="T0" y="T1"/>
                  </a:cxn>
                  <a:cxn ang="0">
                    <a:pos x="T2" y="T3"/>
                  </a:cxn>
                  <a:cxn ang="0">
                    <a:pos x="T4" y="T5"/>
                  </a:cxn>
                  <a:cxn ang="0">
                    <a:pos x="T6" y="T7"/>
                  </a:cxn>
                  <a:cxn ang="0">
                    <a:pos x="T8" y="T9"/>
                  </a:cxn>
                </a:cxnLst>
                <a:rect l="0" t="0" r="r" b="b"/>
                <a:pathLst>
                  <a:path w="159" h="22">
                    <a:moveTo>
                      <a:pt x="159" y="11"/>
                    </a:moveTo>
                    <a:lnTo>
                      <a:pt x="0" y="22"/>
                    </a:lnTo>
                    <a:lnTo>
                      <a:pt x="0" y="11"/>
                    </a:lnTo>
                    <a:lnTo>
                      <a:pt x="159" y="0"/>
                    </a:lnTo>
                    <a:lnTo>
                      <a:pt x="159" y="1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1"/>
              <p:cNvSpPr>
                <a:spLocks/>
              </p:cNvSpPr>
              <p:nvPr/>
            </p:nvSpPr>
            <p:spPr bwMode="auto">
              <a:xfrm>
                <a:off x="3927475" y="3300413"/>
                <a:ext cx="138112" cy="330200"/>
              </a:xfrm>
              <a:custGeom>
                <a:avLst/>
                <a:gdLst>
                  <a:gd name="T0" fmla="*/ 87 w 87"/>
                  <a:gd name="T1" fmla="*/ 38 h 208"/>
                  <a:gd name="T2" fmla="*/ 0 w 87"/>
                  <a:gd name="T3" fmla="*/ 0 h 208"/>
                  <a:gd name="T4" fmla="*/ 0 w 87"/>
                  <a:gd name="T5" fmla="*/ 164 h 208"/>
                  <a:gd name="T6" fmla="*/ 87 w 87"/>
                  <a:gd name="T7" fmla="*/ 208 h 208"/>
                  <a:gd name="T8" fmla="*/ 87 w 87"/>
                  <a:gd name="T9" fmla="*/ 38 h 208"/>
                </a:gdLst>
                <a:ahLst/>
                <a:cxnLst>
                  <a:cxn ang="0">
                    <a:pos x="T0" y="T1"/>
                  </a:cxn>
                  <a:cxn ang="0">
                    <a:pos x="T2" y="T3"/>
                  </a:cxn>
                  <a:cxn ang="0">
                    <a:pos x="T4" y="T5"/>
                  </a:cxn>
                  <a:cxn ang="0">
                    <a:pos x="T6" y="T7"/>
                  </a:cxn>
                  <a:cxn ang="0">
                    <a:pos x="T8" y="T9"/>
                  </a:cxn>
                </a:cxnLst>
                <a:rect l="0" t="0" r="r" b="b"/>
                <a:pathLst>
                  <a:path w="87" h="208">
                    <a:moveTo>
                      <a:pt x="87" y="38"/>
                    </a:moveTo>
                    <a:lnTo>
                      <a:pt x="0" y="0"/>
                    </a:lnTo>
                    <a:lnTo>
                      <a:pt x="0" y="164"/>
                    </a:lnTo>
                    <a:lnTo>
                      <a:pt x="87" y="208"/>
                    </a:lnTo>
                    <a:lnTo>
                      <a:pt x="87" y="38"/>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2"/>
              <p:cNvSpPr>
                <a:spLocks/>
              </p:cNvSpPr>
              <p:nvPr/>
            </p:nvSpPr>
            <p:spPr bwMode="auto">
              <a:xfrm>
                <a:off x="4135438" y="3395663"/>
                <a:ext cx="147637" cy="349250"/>
              </a:xfrm>
              <a:custGeom>
                <a:avLst/>
                <a:gdLst>
                  <a:gd name="T0" fmla="*/ 93 w 93"/>
                  <a:gd name="T1" fmla="*/ 44 h 220"/>
                  <a:gd name="T2" fmla="*/ 0 w 93"/>
                  <a:gd name="T3" fmla="*/ 0 h 220"/>
                  <a:gd name="T4" fmla="*/ 0 w 93"/>
                  <a:gd name="T5" fmla="*/ 170 h 220"/>
                  <a:gd name="T6" fmla="*/ 93 w 93"/>
                  <a:gd name="T7" fmla="*/ 220 h 220"/>
                  <a:gd name="T8" fmla="*/ 93 w 93"/>
                  <a:gd name="T9" fmla="*/ 44 h 220"/>
                </a:gdLst>
                <a:ahLst/>
                <a:cxnLst>
                  <a:cxn ang="0">
                    <a:pos x="T0" y="T1"/>
                  </a:cxn>
                  <a:cxn ang="0">
                    <a:pos x="T2" y="T3"/>
                  </a:cxn>
                  <a:cxn ang="0">
                    <a:pos x="T4" y="T5"/>
                  </a:cxn>
                  <a:cxn ang="0">
                    <a:pos x="T6" y="T7"/>
                  </a:cxn>
                  <a:cxn ang="0">
                    <a:pos x="T8" y="T9"/>
                  </a:cxn>
                </a:cxnLst>
                <a:rect l="0" t="0" r="r" b="b"/>
                <a:pathLst>
                  <a:path w="93" h="220">
                    <a:moveTo>
                      <a:pt x="93" y="44"/>
                    </a:moveTo>
                    <a:lnTo>
                      <a:pt x="0" y="0"/>
                    </a:lnTo>
                    <a:lnTo>
                      <a:pt x="0" y="170"/>
                    </a:lnTo>
                    <a:lnTo>
                      <a:pt x="93" y="220"/>
                    </a:lnTo>
                    <a:lnTo>
                      <a:pt x="93" y="44"/>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Text Placeholder 2"/>
          <p:cNvSpPr txBox="1">
            <a:spLocks/>
          </p:cNvSpPr>
          <p:nvPr/>
        </p:nvSpPr>
        <p:spPr>
          <a:xfrm>
            <a:off x="2929381" y="2588861"/>
            <a:ext cx="1522447" cy="557851"/>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id-ID" sz="2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Office</a:t>
            </a:r>
            <a:r>
              <a:rPr lang="en-US" sz="2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 1</a:t>
            </a:r>
            <a:endParaRPr lang="id-ID" sz="2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5" name="Text Placeholder 2"/>
          <p:cNvSpPr txBox="1">
            <a:spLocks/>
          </p:cNvSpPr>
          <p:nvPr/>
        </p:nvSpPr>
        <p:spPr>
          <a:xfrm>
            <a:off x="2929379" y="2930517"/>
            <a:ext cx="1522448" cy="345563"/>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id-ID" sz="14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3.590.000$</a:t>
            </a:r>
          </a:p>
        </p:txBody>
      </p:sp>
      <p:grpSp>
        <p:nvGrpSpPr>
          <p:cNvPr id="107" name="Group 106"/>
          <p:cNvGrpSpPr/>
          <p:nvPr/>
        </p:nvGrpSpPr>
        <p:grpSpPr>
          <a:xfrm>
            <a:off x="3050489" y="3267769"/>
            <a:ext cx="820532" cy="45719"/>
            <a:chOff x="4886324" y="1149215"/>
            <a:chExt cx="2017487" cy="45720"/>
          </a:xfrm>
          <a:solidFill>
            <a:schemeClr val="bg1">
              <a:lumMod val="75000"/>
            </a:schemeClr>
          </a:solidFill>
        </p:grpSpPr>
        <p:sp>
          <p:nvSpPr>
            <p:cNvPr id="108" name="Rectangle 107"/>
            <p:cNvSpPr/>
            <p:nvPr/>
          </p:nvSpPr>
          <p:spPr>
            <a:xfrm>
              <a:off x="4886325" y="1149216"/>
              <a:ext cx="2017486"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108"/>
            <p:cNvSpPr/>
            <p:nvPr/>
          </p:nvSpPr>
          <p:spPr>
            <a:xfrm>
              <a:off x="4886324" y="1149215"/>
              <a:ext cx="1039699"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110" name="Rectangle 109"/>
          <p:cNvSpPr/>
          <p:nvPr/>
        </p:nvSpPr>
        <p:spPr>
          <a:xfrm>
            <a:off x="2954204" y="3358517"/>
            <a:ext cx="3033331" cy="1200329"/>
          </a:xfrm>
          <a:prstGeom prst="rect">
            <a:avLst/>
          </a:prstGeom>
        </p:spPr>
        <p:txBody>
          <a:bodyPr wrap="square">
            <a:noAutofit/>
          </a:bodyPr>
          <a:lstStyle/>
          <a:p>
            <a:pPr>
              <a:buClr>
                <a:srgbClr val="E24848"/>
              </a:buClr>
              <a:defRPr/>
            </a:pPr>
            <a:r>
              <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Lorem ipsum dolor sit amet, consectetur adipiscing elit. </a:t>
            </a:r>
          </a:p>
        </p:txBody>
      </p:sp>
      <p:grpSp>
        <p:nvGrpSpPr>
          <p:cNvPr id="113" name="Group 112"/>
          <p:cNvGrpSpPr/>
          <p:nvPr/>
        </p:nvGrpSpPr>
        <p:grpSpPr>
          <a:xfrm>
            <a:off x="6542147" y="2330143"/>
            <a:ext cx="3980908" cy="3635556"/>
            <a:chOff x="1898650" y="1520825"/>
            <a:chExt cx="4378998" cy="3999112"/>
          </a:xfrm>
        </p:grpSpPr>
        <p:sp>
          <p:nvSpPr>
            <p:cNvPr id="114" name="Freeform 119"/>
            <p:cNvSpPr>
              <a:spLocks/>
            </p:cNvSpPr>
            <p:nvPr/>
          </p:nvSpPr>
          <p:spPr bwMode="auto">
            <a:xfrm>
              <a:off x="2670625" y="3827335"/>
              <a:ext cx="3607023" cy="1692602"/>
            </a:xfrm>
            <a:custGeom>
              <a:avLst/>
              <a:gdLst>
                <a:gd name="T0" fmla="*/ 0 w 2250"/>
                <a:gd name="T1" fmla="*/ 312 h 970"/>
                <a:gd name="T2" fmla="*/ 1651 w 2250"/>
                <a:gd name="T3" fmla="*/ 970 h 970"/>
                <a:gd name="T4" fmla="*/ 2250 w 2250"/>
                <a:gd name="T5" fmla="*/ 654 h 970"/>
                <a:gd name="T6" fmla="*/ 601 w 2250"/>
                <a:gd name="T7" fmla="*/ 0 h 970"/>
                <a:gd name="T8" fmla="*/ 0 w 2250"/>
                <a:gd name="T9" fmla="*/ 312 h 970"/>
                <a:gd name="connsiteX0" fmla="*/ 0 w 10000"/>
                <a:gd name="connsiteY0" fmla="*/ 2953 h 9737"/>
                <a:gd name="connsiteX1" fmla="*/ 7338 w 10000"/>
                <a:gd name="connsiteY1" fmla="*/ 9737 h 9737"/>
                <a:gd name="connsiteX2" fmla="*/ 10000 w 10000"/>
                <a:gd name="connsiteY2" fmla="*/ 6479 h 9737"/>
                <a:gd name="connsiteX3" fmla="*/ 2539 w 10000"/>
                <a:gd name="connsiteY3" fmla="*/ 0 h 9737"/>
                <a:gd name="connsiteX4" fmla="*/ 0 w 10000"/>
                <a:gd name="connsiteY4" fmla="*/ 2953 h 9737"/>
                <a:gd name="connsiteX0" fmla="*/ 0 w 9844"/>
                <a:gd name="connsiteY0" fmla="*/ 3115 h 10000"/>
                <a:gd name="connsiteX1" fmla="*/ 7182 w 9844"/>
                <a:gd name="connsiteY1" fmla="*/ 10000 h 10000"/>
                <a:gd name="connsiteX2" fmla="*/ 9844 w 9844"/>
                <a:gd name="connsiteY2" fmla="*/ 6654 h 10000"/>
                <a:gd name="connsiteX3" fmla="*/ 2383 w 9844"/>
                <a:gd name="connsiteY3" fmla="*/ 0 h 10000"/>
                <a:gd name="connsiteX4" fmla="*/ 0 w 9844"/>
                <a:gd name="connsiteY4" fmla="*/ 3115 h 10000"/>
                <a:gd name="connsiteX0" fmla="*/ 0 w 9987"/>
                <a:gd name="connsiteY0" fmla="*/ 3053 h 10000"/>
                <a:gd name="connsiteX1" fmla="*/ 7283 w 9987"/>
                <a:gd name="connsiteY1" fmla="*/ 10000 h 10000"/>
                <a:gd name="connsiteX2" fmla="*/ 9987 w 9987"/>
                <a:gd name="connsiteY2" fmla="*/ 6654 h 10000"/>
                <a:gd name="connsiteX3" fmla="*/ 2408 w 9987"/>
                <a:gd name="connsiteY3" fmla="*/ 0 h 10000"/>
                <a:gd name="connsiteX4" fmla="*/ 0 w 9987"/>
                <a:gd name="connsiteY4" fmla="*/ 3053 h 10000"/>
                <a:gd name="connsiteX0" fmla="*/ 0 w 10000"/>
                <a:gd name="connsiteY0" fmla="*/ 3053 h 10990"/>
                <a:gd name="connsiteX1" fmla="*/ 6427 w 10000"/>
                <a:gd name="connsiteY1" fmla="*/ 10990 h 10990"/>
                <a:gd name="connsiteX2" fmla="*/ 10000 w 10000"/>
                <a:gd name="connsiteY2" fmla="*/ 6654 h 10990"/>
                <a:gd name="connsiteX3" fmla="*/ 2411 w 10000"/>
                <a:gd name="connsiteY3" fmla="*/ 0 h 10990"/>
                <a:gd name="connsiteX4" fmla="*/ 0 w 10000"/>
                <a:gd name="connsiteY4" fmla="*/ 3053 h 10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990">
                  <a:moveTo>
                    <a:pt x="0" y="3053"/>
                  </a:moveTo>
                  <a:lnTo>
                    <a:pt x="6427" y="10990"/>
                  </a:lnTo>
                  <a:lnTo>
                    <a:pt x="10000" y="6654"/>
                  </a:lnTo>
                  <a:lnTo>
                    <a:pt x="2411" y="0"/>
                  </a:lnTo>
                  <a:lnTo>
                    <a:pt x="0" y="3053"/>
                  </a:lnTo>
                  <a:close/>
                </a:path>
              </a:pathLst>
            </a:custGeom>
            <a:gradFill>
              <a:gsLst>
                <a:gs pos="7000">
                  <a:srgbClr val="080808">
                    <a:alpha val="10000"/>
                  </a:srgbClr>
                </a:gs>
                <a:gs pos="100000">
                  <a:schemeClr val="bg1">
                    <a:alpha val="0"/>
                  </a:schemeClr>
                </a:gs>
              </a:gsLst>
              <a:lin ang="3000000" scaled="0"/>
            </a:gradFill>
            <a:ln>
              <a:noFill/>
            </a:ln>
          </p:spPr>
          <p:txBody>
            <a:bodyPr vert="horz" wrap="square" lIns="91440" tIns="45720" rIns="91440" bIns="45720" numCol="1" anchor="t" anchorCtr="0" compatLnSpc="1">
              <a:prstTxWarp prst="textNoShape">
                <a:avLst/>
              </a:prstTxWarp>
            </a:bodyPr>
            <a:lstStyle/>
            <a:p>
              <a:r>
                <a:rPr lang="en-US"/>
                <a:t> </a:t>
              </a:r>
            </a:p>
          </p:txBody>
        </p:sp>
        <p:grpSp>
          <p:nvGrpSpPr>
            <p:cNvPr id="115" name="Group 114"/>
            <p:cNvGrpSpPr/>
            <p:nvPr/>
          </p:nvGrpSpPr>
          <p:grpSpPr>
            <a:xfrm>
              <a:off x="1898650" y="1520825"/>
              <a:ext cx="1789112" cy="2841625"/>
              <a:chOff x="3727450" y="1076325"/>
              <a:chExt cx="1789112" cy="2841625"/>
            </a:xfrm>
          </p:grpSpPr>
          <p:sp>
            <p:nvSpPr>
              <p:cNvPr id="116" name="Freeform 115"/>
              <p:cNvSpPr>
                <a:spLocks/>
              </p:cNvSpPr>
              <p:nvPr/>
            </p:nvSpPr>
            <p:spPr bwMode="auto">
              <a:xfrm>
                <a:off x="3736975" y="1905000"/>
                <a:ext cx="884237" cy="2012950"/>
              </a:xfrm>
              <a:custGeom>
                <a:avLst/>
                <a:gdLst>
                  <a:gd name="T0" fmla="*/ 0 w 557"/>
                  <a:gd name="T1" fmla="*/ 0 h 1268"/>
                  <a:gd name="T2" fmla="*/ 557 w 557"/>
                  <a:gd name="T3" fmla="*/ 115 h 1268"/>
                  <a:gd name="T4" fmla="*/ 552 w 557"/>
                  <a:gd name="T5" fmla="*/ 1268 h 1268"/>
                  <a:gd name="T6" fmla="*/ 0 w 557"/>
                  <a:gd name="T7" fmla="*/ 977 h 1268"/>
                  <a:gd name="T8" fmla="*/ 0 w 557"/>
                  <a:gd name="T9" fmla="*/ 0 h 1268"/>
                </a:gdLst>
                <a:ahLst/>
                <a:cxnLst>
                  <a:cxn ang="0">
                    <a:pos x="T0" y="T1"/>
                  </a:cxn>
                  <a:cxn ang="0">
                    <a:pos x="T2" y="T3"/>
                  </a:cxn>
                  <a:cxn ang="0">
                    <a:pos x="T4" y="T5"/>
                  </a:cxn>
                  <a:cxn ang="0">
                    <a:pos x="T6" y="T7"/>
                  </a:cxn>
                  <a:cxn ang="0">
                    <a:pos x="T8" y="T9"/>
                  </a:cxn>
                </a:cxnLst>
                <a:rect l="0" t="0" r="r" b="b"/>
                <a:pathLst>
                  <a:path w="557" h="1268">
                    <a:moveTo>
                      <a:pt x="0" y="0"/>
                    </a:moveTo>
                    <a:lnTo>
                      <a:pt x="557" y="115"/>
                    </a:lnTo>
                    <a:lnTo>
                      <a:pt x="552" y="1268"/>
                    </a:lnTo>
                    <a:lnTo>
                      <a:pt x="0" y="977"/>
                    </a:lnTo>
                    <a:lnTo>
                      <a:pt x="0" y="0"/>
                    </a:lnTo>
                    <a:close/>
                  </a:path>
                </a:pathLst>
              </a:custGeom>
              <a:solidFill>
                <a:srgbClr val="CCD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16"/>
              <p:cNvSpPr>
                <a:spLocks/>
              </p:cNvSpPr>
              <p:nvPr/>
            </p:nvSpPr>
            <p:spPr bwMode="auto">
              <a:xfrm>
                <a:off x="4613275" y="1905000"/>
                <a:ext cx="893762" cy="2012950"/>
              </a:xfrm>
              <a:custGeom>
                <a:avLst/>
                <a:gdLst>
                  <a:gd name="T0" fmla="*/ 563 w 563"/>
                  <a:gd name="T1" fmla="*/ 0 h 1268"/>
                  <a:gd name="T2" fmla="*/ 5 w 563"/>
                  <a:gd name="T3" fmla="*/ 115 h 1268"/>
                  <a:gd name="T4" fmla="*/ 0 w 563"/>
                  <a:gd name="T5" fmla="*/ 1268 h 1268"/>
                  <a:gd name="T6" fmla="*/ 563 w 563"/>
                  <a:gd name="T7" fmla="*/ 977 h 1268"/>
                  <a:gd name="T8" fmla="*/ 563 w 563"/>
                  <a:gd name="T9" fmla="*/ 0 h 1268"/>
                </a:gdLst>
                <a:ahLst/>
                <a:cxnLst>
                  <a:cxn ang="0">
                    <a:pos x="T0" y="T1"/>
                  </a:cxn>
                  <a:cxn ang="0">
                    <a:pos x="T2" y="T3"/>
                  </a:cxn>
                  <a:cxn ang="0">
                    <a:pos x="T4" y="T5"/>
                  </a:cxn>
                  <a:cxn ang="0">
                    <a:pos x="T6" y="T7"/>
                  </a:cxn>
                  <a:cxn ang="0">
                    <a:pos x="T8" y="T9"/>
                  </a:cxn>
                </a:cxnLst>
                <a:rect l="0" t="0" r="r" b="b"/>
                <a:pathLst>
                  <a:path w="563" h="1268">
                    <a:moveTo>
                      <a:pt x="563" y="0"/>
                    </a:moveTo>
                    <a:lnTo>
                      <a:pt x="5" y="115"/>
                    </a:lnTo>
                    <a:lnTo>
                      <a:pt x="0" y="1268"/>
                    </a:lnTo>
                    <a:lnTo>
                      <a:pt x="563" y="977"/>
                    </a:lnTo>
                    <a:lnTo>
                      <a:pt x="563" y="0"/>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9"/>
              <p:cNvSpPr>
                <a:spLocks/>
              </p:cNvSpPr>
              <p:nvPr/>
            </p:nvSpPr>
            <p:spPr bwMode="auto">
              <a:xfrm>
                <a:off x="3727450" y="1765300"/>
                <a:ext cx="1789112" cy="331788"/>
              </a:xfrm>
              <a:custGeom>
                <a:avLst/>
                <a:gdLst>
                  <a:gd name="T0" fmla="*/ 1127 w 1127"/>
                  <a:gd name="T1" fmla="*/ 88 h 209"/>
                  <a:gd name="T2" fmla="*/ 569 w 1127"/>
                  <a:gd name="T3" fmla="*/ 0 h 209"/>
                  <a:gd name="T4" fmla="*/ 0 w 1127"/>
                  <a:gd name="T5" fmla="*/ 88 h 209"/>
                  <a:gd name="T6" fmla="*/ 558 w 1127"/>
                  <a:gd name="T7" fmla="*/ 209 h 209"/>
                  <a:gd name="T8" fmla="*/ 1127 w 1127"/>
                  <a:gd name="T9" fmla="*/ 88 h 209"/>
                </a:gdLst>
                <a:ahLst/>
                <a:cxnLst>
                  <a:cxn ang="0">
                    <a:pos x="T0" y="T1"/>
                  </a:cxn>
                  <a:cxn ang="0">
                    <a:pos x="T2" y="T3"/>
                  </a:cxn>
                  <a:cxn ang="0">
                    <a:pos x="T4" y="T5"/>
                  </a:cxn>
                  <a:cxn ang="0">
                    <a:pos x="T6" y="T7"/>
                  </a:cxn>
                  <a:cxn ang="0">
                    <a:pos x="T8" y="T9"/>
                  </a:cxn>
                </a:cxnLst>
                <a:rect l="0" t="0" r="r" b="b"/>
                <a:pathLst>
                  <a:path w="1127" h="209">
                    <a:moveTo>
                      <a:pt x="1127" y="88"/>
                    </a:moveTo>
                    <a:lnTo>
                      <a:pt x="569" y="0"/>
                    </a:lnTo>
                    <a:lnTo>
                      <a:pt x="0" y="88"/>
                    </a:lnTo>
                    <a:lnTo>
                      <a:pt x="558" y="209"/>
                    </a:lnTo>
                    <a:lnTo>
                      <a:pt x="1127" y="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20"/>
              <p:cNvSpPr>
                <a:spLocks/>
              </p:cNvSpPr>
              <p:nvPr/>
            </p:nvSpPr>
            <p:spPr bwMode="auto">
              <a:xfrm>
                <a:off x="3987800" y="1365250"/>
                <a:ext cx="633412" cy="635000"/>
              </a:xfrm>
              <a:custGeom>
                <a:avLst/>
                <a:gdLst>
                  <a:gd name="T0" fmla="*/ 0 w 399"/>
                  <a:gd name="T1" fmla="*/ 0 h 400"/>
                  <a:gd name="T2" fmla="*/ 399 w 399"/>
                  <a:gd name="T3" fmla="*/ 38 h 400"/>
                  <a:gd name="T4" fmla="*/ 399 w 399"/>
                  <a:gd name="T5" fmla="*/ 400 h 400"/>
                  <a:gd name="T6" fmla="*/ 0 w 399"/>
                  <a:gd name="T7" fmla="*/ 318 h 400"/>
                  <a:gd name="T8" fmla="*/ 0 w 399"/>
                  <a:gd name="T9" fmla="*/ 0 h 400"/>
                </a:gdLst>
                <a:ahLst/>
                <a:cxnLst>
                  <a:cxn ang="0">
                    <a:pos x="T0" y="T1"/>
                  </a:cxn>
                  <a:cxn ang="0">
                    <a:pos x="T2" y="T3"/>
                  </a:cxn>
                  <a:cxn ang="0">
                    <a:pos x="T4" y="T5"/>
                  </a:cxn>
                  <a:cxn ang="0">
                    <a:pos x="T6" y="T7"/>
                  </a:cxn>
                  <a:cxn ang="0">
                    <a:pos x="T8" y="T9"/>
                  </a:cxn>
                </a:cxnLst>
                <a:rect l="0" t="0" r="r" b="b"/>
                <a:pathLst>
                  <a:path w="399" h="400">
                    <a:moveTo>
                      <a:pt x="0" y="0"/>
                    </a:moveTo>
                    <a:lnTo>
                      <a:pt x="399" y="38"/>
                    </a:lnTo>
                    <a:lnTo>
                      <a:pt x="399" y="400"/>
                    </a:lnTo>
                    <a:lnTo>
                      <a:pt x="0" y="318"/>
                    </a:lnTo>
                    <a:lnTo>
                      <a:pt x="0" y="0"/>
                    </a:lnTo>
                    <a:close/>
                  </a:path>
                </a:pathLst>
              </a:custGeom>
              <a:solidFill>
                <a:srgbClr val="CCD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21"/>
              <p:cNvSpPr>
                <a:spLocks/>
              </p:cNvSpPr>
              <p:nvPr/>
            </p:nvSpPr>
            <p:spPr bwMode="auto">
              <a:xfrm>
                <a:off x="4621213" y="1373188"/>
                <a:ext cx="538162" cy="619125"/>
              </a:xfrm>
              <a:custGeom>
                <a:avLst/>
                <a:gdLst>
                  <a:gd name="T0" fmla="*/ 339 w 339"/>
                  <a:gd name="T1" fmla="*/ 0 h 390"/>
                  <a:gd name="T2" fmla="*/ 0 w 339"/>
                  <a:gd name="T3" fmla="*/ 33 h 390"/>
                  <a:gd name="T4" fmla="*/ 0 w 339"/>
                  <a:gd name="T5" fmla="*/ 390 h 390"/>
                  <a:gd name="T6" fmla="*/ 339 w 339"/>
                  <a:gd name="T7" fmla="*/ 324 h 390"/>
                  <a:gd name="T8" fmla="*/ 339 w 339"/>
                  <a:gd name="T9" fmla="*/ 0 h 390"/>
                </a:gdLst>
                <a:ahLst/>
                <a:cxnLst>
                  <a:cxn ang="0">
                    <a:pos x="T0" y="T1"/>
                  </a:cxn>
                  <a:cxn ang="0">
                    <a:pos x="T2" y="T3"/>
                  </a:cxn>
                  <a:cxn ang="0">
                    <a:pos x="T4" y="T5"/>
                  </a:cxn>
                  <a:cxn ang="0">
                    <a:pos x="T6" y="T7"/>
                  </a:cxn>
                  <a:cxn ang="0">
                    <a:pos x="T8" y="T9"/>
                  </a:cxn>
                </a:cxnLst>
                <a:rect l="0" t="0" r="r" b="b"/>
                <a:pathLst>
                  <a:path w="339" h="390">
                    <a:moveTo>
                      <a:pt x="339" y="0"/>
                    </a:moveTo>
                    <a:lnTo>
                      <a:pt x="0" y="33"/>
                    </a:lnTo>
                    <a:lnTo>
                      <a:pt x="0" y="390"/>
                    </a:lnTo>
                    <a:lnTo>
                      <a:pt x="339" y="324"/>
                    </a:lnTo>
                    <a:lnTo>
                      <a:pt x="339" y="0"/>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22"/>
              <p:cNvSpPr>
                <a:spLocks/>
              </p:cNvSpPr>
              <p:nvPr/>
            </p:nvSpPr>
            <p:spPr bwMode="auto">
              <a:xfrm>
                <a:off x="3979863" y="1320800"/>
                <a:ext cx="1179512" cy="104775"/>
              </a:xfrm>
              <a:custGeom>
                <a:avLst/>
                <a:gdLst>
                  <a:gd name="T0" fmla="*/ 743 w 743"/>
                  <a:gd name="T1" fmla="*/ 33 h 66"/>
                  <a:gd name="T2" fmla="*/ 339 w 743"/>
                  <a:gd name="T3" fmla="*/ 0 h 66"/>
                  <a:gd name="T4" fmla="*/ 0 w 743"/>
                  <a:gd name="T5" fmla="*/ 28 h 66"/>
                  <a:gd name="T6" fmla="*/ 404 w 743"/>
                  <a:gd name="T7" fmla="*/ 66 h 66"/>
                  <a:gd name="T8" fmla="*/ 743 w 743"/>
                  <a:gd name="T9" fmla="*/ 33 h 66"/>
                </a:gdLst>
                <a:ahLst/>
                <a:cxnLst>
                  <a:cxn ang="0">
                    <a:pos x="T0" y="T1"/>
                  </a:cxn>
                  <a:cxn ang="0">
                    <a:pos x="T2" y="T3"/>
                  </a:cxn>
                  <a:cxn ang="0">
                    <a:pos x="T4" y="T5"/>
                  </a:cxn>
                  <a:cxn ang="0">
                    <a:pos x="T6" y="T7"/>
                  </a:cxn>
                  <a:cxn ang="0">
                    <a:pos x="T8" y="T9"/>
                  </a:cxn>
                </a:cxnLst>
                <a:rect l="0" t="0" r="r" b="b"/>
                <a:pathLst>
                  <a:path w="743" h="66">
                    <a:moveTo>
                      <a:pt x="743" y="33"/>
                    </a:moveTo>
                    <a:lnTo>
                      <a:pt x="339" y="0"/>
                    </a:lnTo>
                    <a:lnTo>
                      <a:pt x="0" y="28"/>
                    </a:lnTo>
                    <a:lnTo>
                      <a:pt x="404" y="66"/>
                    </a:lnTo>
                    <a:lnTo>
                      <a:pt x="743" y="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23"/>
              <p:cNvSpPr>
                <a:spLocks/>
              </p:cNvSpPr>
              <p:nvPr/>
            </p:nvSpPr>
            <p:spPr bwMode="auto">
              <a:xfrm>
                <a:off x="4352925" y="1085850"/>
                <a:ext cx="260350" cy="296863"/>
              </a:xfrm>
              <a:custGeom>
                <a:avLst/>
                <a:gdLst>
                  <a:gd name="T0" fmla="*/ 164 w 164"/>
                  <a:gd name="T1" fmla="*/ 11 h 187"/>
                  <a:gd name="T2" fmla="*/ 0 w 164"/>
                  <a:gd name="T3" fmla="*/ 0 h 187"/>
                  <a:gd name="T4" fmla="*/ 0 w 164"/>
                  <a:gd name="T5" fmla="*/ 170 h 187"/>
                  <a:gd name="T6" fmla="*/ 164 w 164"/>
                  <a:gd name="T7" fmla="*/ 187 h 187"/>
                  <a:gd name="T8" fmla="*/ 164 w 164"/>
                  <a:gd name="T9" fmla="*/ 11 h 187"/>
                </a:gdLst>
                <a:ahLst/>
                <a:cxnLst>
                  <a:cxn ang="0">
                    <a:pos x="T0" y="T1"/>
                  </a:cxn>
                  <a:cxn ang="0">
                    <a:pos x="T2" y="T3"/>
                  </a:cxn>
                  <a:cxn ang="0">
                    <a:pos x="T4" y="T5"/>
                  </a:cxn>
                  <a:cxn ang="0">
                    <a:pos x="T6" y="T7"/>
                  </a:cxn>
                  <a:cxn ang="0">
                    <a:pos x="T8" y="T9"/>
                  </a:cxn>
                </a:cxnLst>
                <a:rect l="0" t="0" r="r" b="b"/>
                <a:pathLst>
                  <a:path w="164" h="187">
                    <a:moveTo>
                      <a:pt x="164" y="11"/>
                    </a:moveTo>
                    <a:lnTo>
                      <a:pt x="0" y="0"/>
                    </a:lnTo>
                    <a:lnTo>
                      <a:pt x="0" y="170"/>
                    </a:lnTo>
                    <a:lnTo>
                      <a:pt x="164" y="187"/>
                    </a:lnTo>
                    <a:lnTo>
                      <a:pt x="164" y="11"/>
                    </a:lnTo>
                    <a:close/>
                  </a:path>
                </a:pathLst>
              </a:custGeom>
              <a:solidFill>
                <a:srgbClr val="CCD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26"/>
              <p:cNvSpPr>
                <a:spLocks/>
              </p:cNvSpPr>
              <p:nvPr/>
            </p:nvSpPr>
            <p:spPr bwMode="auto">
              <a:xfrm>
                <a:off x="4613275" y="1085850"/>
                <a:ext cx="252412" cy="296863"/>
              </a:xfrm>
              <a:custGeom>
                <a:avLst/>
                <a:gdLst>
                  <a:gd name="T0" fmla="*/ 159 w 159"/>
                  <a:gd name="T1" fmla="*/ 176 h 187"/>
                  <a:gd name="T2" fmla="*/ 0 w 159"/>
                  <a:gd name="T3" fmla="*/ 187 h 187"/>
                  <a:gd name="T4" fmla="*/ 0 w 159"/>
                  <a:gd name="T5" fmla="*/ 11 h 187"/>
                  <a:gd name="T6" fmla="*/ 159 w 159"/>
                  <a:gd name="T7" fmla="*/ 0 h 187"/>
                  <a:gd name="T8" fmla="*/ 159 w 159"/>
                  <a:gd name="T9" fmla="*/ 176 h 187"/>
                </a:gdLst>
                <a:ahLst/>
                <a:cxnLst>
                  <a:cxn ang="0">
                    <a:pos x="T0" y="T1"/>
                  </a:cxn>
                  <a:cxn ang="0">
                    <a:pos x="T2" y="T3"/>
                  </a:cxn>
                  <a:cxn ang="0">
                    <a:pos x="T4" y="T5"/>
                  </a:cxn>
                  <a:cxn ang="0">
                    <a:pos x="T6" y="T7"/>
                  </a:cxn>
                  <a:cxn ang="0">
                    <a:pos x="T8" y="T9"/>
                  </a:cxn>
                </a:cxnLst>
                <a:rect l="0" t="0" r="r" b="b"/>
                <a:pathLst>
                  <a:path w="159" h="187">
                    <a:moveTo>
                      <a:pt x="159" y="176"/>
                    </a:moveTo>
                    <a:lnTo>
                      <a:pt x="0" y="187"/>
                    </a:lnTo>
                    <a:lnTo>
                      <a:pt x="0" y="11"/>
                    </a:lnTo>
                    <a:lnTo>
                      <a:pt x="159" y="0"/>
                    </a:lnTo>
                    <a:lnTo>
                      <a:pt x="159" y="176"/>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7"/>
              <p:cNvSpPr>
                <a:spLocks/>
              </p:cNvSpPr>
              <p:nvPr/>
            </p:nvSpPr>
            <p:spPr bwMode="auto">
              <a:xfrm>
                <a:off x="4352925" y="1076325"/>
                <a:ext cx="512762" cy="26988"/>
              </a:xfrm>
              <a:custGeom>
                <a:avLst/>
                <a:gdLst>
                  <a:gd name="T0" fmla="*/ 323 w 323"/>
                  <a:gd name="T1" fmla="*/ 11 h 17"/>
                  <a:gd name="T2" fmla="*/ 142 w 323"/>
                  <a:gd name="T3" fmla="*/ 0 h 17"/>
                  <a:gd name="T4" fmla="*/ 0 w 323"/>
                  <a:gd name="T5" fmla="*/ 6 h 17"/>
                  <a:gd name="T6" fmla="*/ 180 w 323"/>
                  <a:gd name="T7" fmla="*/ 17 h 17"/>
                  <a:gd name="T8" fmla="*/ 323 w 323"/>
                  <a:gd name="T9" fmla="*/ 11 h 17"/>
                </a:gdLst>
                <a:ahLst/>
                <a:cxnLst>
                  <a:cxn ang="0">
                    <a:pos x="T0" y="T1"/>
                  </a:cxn>
                  <a:cxn ang="0">
                    <a:pos x="T2" y="T3"/>
                  </a:cxn>
                  <a:cxn ang="0">
                    <a:pos x="T4" y="T5"/>
                  </a:cxn>
                  <a:cxn ang="0">
                    <a:pos x="T6" y="T7"/>
                  </a:cxn>
                  <a:cxn ang="0">
                    <a:pos x="T8" y="T9"/>
                  </a:cxn>
                </a:cxnLst>
                <a:rect l="0" t="0" r="r" b="b"/>
                <a:pathLst>
                  <a:path w="323" h="17">
                    <a:moveTo>
                      <a:pt x="323" y="11"/>
                    </a:moveTo>
                    <a:lnTo>
                      <a:pt x="142" y="0"/>
                    </a:lnTo>
                    <a:lnTo>
                      <a:pt x="0" y="6"/>
                    </a:lnTo>
                    <a:lnTo>
                      <a:pt x="180" y="17"/>
                    </a:lnTo>
                    <a:lnTo>
                      <a:pt x="323" y="11"/>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8"/>
              <p:cNvSpPr>
                <a:spLocks/>
              </p:cNvSpPr>
              <p:nvPr/>
            </p:nvSpPr>
            <p:spPr bwMode="auto">
              <a:xfrm>
                <a:off x="3736975" y="3317875"/>
                <a:ext cx="876300" cy="600075"/>
              </a:xfrm>
              <a:custGeom>
                <a:avLst/>
                <a:gdLst>
                  <a:gd name="T0" fmla="*/ 0 w 552"/>
                  <a:gd name="T1" fmla="*/ 0 h 378"/>
                  <a:gd name="T2" fmla="*/ 552 w 552"/>
                  <a:gd name="T3" fmla="*/ 274 h 378"/>
                  <a:gd name="T4" fmla="*/ 552 w 552"/>
                  <a:gd name="T5" fmla="*/ 378 h 378"/>
                  <a:gd name="T6" fmla="*/ 0 w 552"/>
                  <a:gd name="T7" fmla="*/ 87 h 378"/>
                  <a:gd name="T8" fmla="*/ 0 w 552"/>
                  <a:gd name="T9" fmla="*/ 0 h 378"/>
                </a:gdLst>
                <a:ahLst/>
                <a:cxnLst>
                  <a:cxn ang="0">
                    <a:pos x="T0" y="T1"/>
                  </a:cxn>
                  <a:cxn ang="0">
                    <a:pos x="T2" y="T3"/>
                  </a:cxn>
                  <a:cxn ang="0">
                    <a:pos x="T4" y="T5"/>
                  </a:cxn>
                  <a:cxn ang="0">
                    <a:pos x="T6" y="T7"/>
                  </a:cxn>
                  <a:cxn ang="0">
                    <a:pos x="T8" y="T9"/>
                  </a:cxn>
                </a:cxnLst>
                <a:rect l="0" t="0" r="r" b="b"/>
                <a:pathLst>
                  <a:path w="552" h="378">
                    <a:moveTo>
                      <a:pt x="0" y="0"/>
                    </a:moveTo>
                    <a:lnTo>
                      <a:pt x="552" y="274"/>
                    </a:lnTo>
                    <a:lnTo>
                      <a:pt x="552" y="378"/>
                    </a:lnTo>
                    <a:lnTo>
                      <a:pt x="0" y="87"/>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9"/>
              <p:cNvSpPr>
                <a:spLocks/>
              </p:cNvSpPr>
              <p:nvPr/>
            </p:nvSpPr>
            <p:spPr bwMode="auto">
              <a:xfrm>
                <a:off x="4613275" y="3317875"/>
                <a:ext cx="876300" cy="600075"/>
              </a:xfrm>
              <a:custGeom>
                <a:avLst/>
                <a:gdLst>
                  <a:gd name="T0" fmla="*/ 552 w 552"/>
                  <a:gd name="T1" fmla="*/ 0 h 378"/>
                  <a:gd name="T2" fmla="*/ 0 w 552"/>
                  <a:gd name="T3" fmla="*/ 280 h 378"/>
                  <a:gd name="T4" fmla="*/ 0 w 552"/>
                  <a:gd name="T5" fmla="*/ 378 h 378"/>
                  <a:gd name="T6" fmla="*/ 552 w 552"/>
                  <a:gd name="T7" fmla="*/ 87 h 378"/>
                  <a:gd name="T8" fmla="*/ 552 w 552"/>
                  <a:gd name="T9" fmla="*/ 0 h 378"/>
                </a:gdLst>
                <a:ahLst/>
                <a:cxnLst>
                  <a:cxn ang="0">
                    <a:pos x="T0" y="T1"/>
                  </a:cxn>
                  <a:cxn ang="0">
                    <a:pos x="T2" y="T3"/>
                  </a:cxn>
                  <a:cxn ang="0">
                    <a:pos x="T4" y="T5"/>
                  </a:cxn>
                  <a:cxn ang="0">
                    <a:pos x="T6" y="T7"/>
                  </a:cxn>
                  <a:cxn ang="0">
                    <a:pos x="T8" y="T9"/>
                  </a:cxn>
                </a:cxnLst>
                <a:rect l="0" t="0" r="r" b="b"/>
                <a:pathLst>
                  <a:path w="552" h="378">
                    <a:moveTo>
                      <a:pt x="552" y="0"/>
                    </a:moveTo>
                    <a:lnTo>
                      <a:pt x="0" y="280"/>
                    </a:lnTo>
                    <a:lnTo>
                      <a:pt x="0" y="378"/>
                    </a:lnTo>
                    <a:lnTo>
                      <a:pt x="552" y="87"/>
                    </a:lnTo>
                    <a:lnTo>
                      <a:pt x="55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30"/>
              <p:cNvSpPr>
                <a:spLocks/>
              </p:cNvSpPr>
              <p:nvPr/>
            </p:nvSpPr>
            <p:spPr bwMode="auto">
              <a:xfrm>
                <a:off x="3987800" y="1817688"/>
                <a:ext cx="633412" cy="182563"/>
              </a:xfrm>
              <a:custGeom>
                <a:avLst/>
                <a:gdLst>
                  <a:gd name="T0" fmla="*/ 399 w 399"/>
                  <a:gd name="T1" fmla="*/ 71 h 115"/>
                  <a:gd name="T2" fmla="*/ 0 w 399"/>
                  <a:gd name="T3" fmla="*/ 0 h 115"/>
                  <a:gd name="T4" fmla="*/ 0 w 399"/>
                  <a:gd name="T5" fmla="*/ 39 h 115"/>
                  <a:gd name="T6" fmla="*/ 399 w 399"/>
                  <a:gd name="T7" fmla="*/ 115 h 115"/>
                  <a:gd name="T8" fmla="*/ 399 w 399"/>
                  <a:gd name="T9" fmla="*/ 71 h 115"/>
                </a:gdLst>
                <a:ahLst/>
                <a:cxnLst>
                  <a:cxn ang="0">
                    <a:pos x="T0" y="T1"/>
                  </a:cxn>
                  <a:cxn ang="0">
                    <a:pos x="T2" y="T3"/>
                  </a:cxn>
                  <a:cxn ang="0">
                    <a:pos x="T4" y="T5"/>
                  </a:cxn>
                  <a:cxn ang="0">
                    <a:pos x="T6" y="T7"/>
                  </a:cxn>
                  <a:cxn ang="0">
                    <a:pos x="T8" y="T9"/>
                  </a:cxn>
                </a:cxnLst>
                <a:rect l="0" t="0" r="r" b="b"/>
                <a:pathLst>
                  <a:path w="399" h="115">
                    <a:moveTo>
                      <a:pt x="399" y="71"/>
                    </a:moveTo>
                    <a:lnTo>
                      <a:pt x="0" y="0"/>
                    </a:lnTo>
                    <a:lnTo>
                      <a:pt x="0" y="39"/>
                    </a:lnTo>
                    <a:lnTo>
                      <a:pt x="399" y="115"/>
                    </a:lnTo>
                    <a:lnTo>
                      <a:pt x="399" y="71"/>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33"/>
              <p:cNvSpPr>
                <a:spLocks/>
              </p:cNvSpPr>
              <p:nvPr/>
            </p:nvSpPr>
            <p:spPr bwMode="auto">
              <a:xfrm>
                <a:off x="4613275" y="1835150"/>
                <a:ext cx="546100" cy="165100"/>
              </a:xfrm>
              <a:custGeom>
                <a:avLst/>
                <a:gdLst>
                  <a:gd name="T0" fmla="*/ 344 w 344"/>
                  <a:gd name="T1" fmla="*/ 0 h 104"/>
                  <a:gd name="T2" fmla="*/ 0 w 344"/>
                  <a:gd name="T3" fmla="*/ 60 h 104"/>
                  <a:gd name="T4" fmla="*/ 0 w 344"/>
                  <a:gd name="T5" fmla="*/ 104 h 104"/>
                  <a:gd name="T6" fmla="*/ 344 w 344"/>
                  <a:gd name="T7" fmla="*/ 39 h 104"/>
                  <a:gd name="T8" fmla="*/ 344 w 344"/>
                  <a:gd name="T9" fmla="*/ 0 h 104"/>
                </a:gdLst>
                <a:ahLst/>
                <a:cxnLst>
                  <a:cxn ang="0">
                    <a:pos x="T0" y="T1"/>
                  </a:cxn>
                  <a:cxn ang="0">
                    <a:pos x="T2" y="T3"/>
                  </a:cxn>
                  <a:cxn ang="0">
                    <a:pos x="T4" y="T5"/>
                  </a:cxn>
                  <a:cxn ang="0">
                    <a:pos x="T6" y="T7"/>
                  </a:cxn>
                  <a:cxn ang="0">
                    <a:pos x="T8" y="T9"/>
                  </a:cxn>
                </a:cxnLst>
                <a:rect l="0" t="0" r="r" b="b"/>
                <a:pathLst>
                  <a:path w="344" h="104">
                    <a:moveTo>
                      <a:pt x="344" y="0"/>
                    </a:moveTo>
                    <a:lnTo>
                      <a:pt x="0" y="60"/>
                    </a:lnTo>
                    <a:lnTo>
                      <a:pt x="0" y="104"/>
                    </a:lnTo>
                    <a:lnTo>
                      <a:pt x="344" y="39"/>
                    </a:lnTo>
                    <a:lnTo>
                      <a:pt x="344" y="0"/>
                    </a:lnTo>
                    <a:close/>
                  </a:path>
                </a:pathLst>
              </a:custGeom>
              <a:solidFill>
                <a:srgbClr val="A2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34"/>
              <p:cNvSpPr>
                <a:spLocks/>
              </p:cNvSpPr>
              <p:nvPr/>
            </p:nvSpPr>
            <p:spPr bwMode="auto">
              <a:xfrm>
                <a:off x="4352925" y="1320800"/>
                <a:ext cx="260350" cy="61913"/>
              </a:xfrm>
              <a:custGeom>
                <a:avLst/>
                <a:gdLst>
                  <a:gd name="T0" fmla="*/ 164 w 164"/>
                  <a:gd name="T1" fmla="*/ 17 h 39"/>
                  <a:gd name="T2" fmla="*/ 0 w 164"/>
                  <a:gd name="T3" fmla="*/ 0 h 39"/>
                  <a:gd name="T4" fmla="*/ 0 w 164"/>
                  <a:gd name="T5" fmla="*/ 22 h 39"/>
                  <a:gd name="T6" fmla="*/ 164 w 164"/>
                  <a:gd name="T7" fmla="*/ 39 h 39"/>
                  <a:gd name="T8" fmla="*/ 164 w 164"/>
                  <a:gd name="T9" fmla="*/ 17 h 39"/>
                </a:gdLst>
                <a:ahLst/>
                <a:cxnLst>
                  <a:cxn ang="0">
                    <a:pos x="T0" y="T1"/>
                  </a:cxn>
                  <a:cxn ang="0">
                    <a:pos x="T2" y="T3"/>
                  </a:cxn>
                  <a:cxn ang="0">
                    <a:pos x="T4" y="T5"/>
                  </a:cxn>
                  <a:cxn ang="0">
                    <a:pos x="T6" y="T7"/>
                  </a:cxn>
                  <a:cxn ang="0">
                    <a:pos x="T8" y="T9"/>
                  </a:cxn>
                </a:cxnLst>
                <a:rect l="0" t="0" r="r" b="b"/>
                <a:pathLst>
                  <a:path w="164" h="39">
                    <a:moveTo>
                      <a:pt x="164" y="17"/>
                    </a:moveTo>
                    <a:lnTo>
                      <a:pt x="0" y="0"/>
                    </a:lnTo>
                    <a:lnTo>
                      <a:pt x="0" y="22"/>
                    </a:lnTo>
                    <a:lnTo>
                      <a:pt x="164" y="39"/>
                    </a:lnTo>
                    <a:lnTo>
                      <a:pt x="164" y="17"/>
                    </a:lnTo>
                    <a:close/>
                  </a:path>
                </a:pathLst>
              </a:custGeom>
              <a:solidFill>
                <a:srgbClr val="B7C4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35"/>
              <p:cNvSpPr>
                <a:spLocks/>
              </p:cNvSpPr>
              <p:nvPr/>
            </p:nvSpPr>
            <p:spPr bwMode="auto">
              <a:xfrm>
                <a:off x="4613275" y="1320800"/>
                <a:ext cx="252412" cy="61913"/>
              </a:xfrm>
              <a:custGeom>
                <a:avLst/>
                <a:gdLst>
                  <a:gd name="T0" fmla="*/ 159 w 159"/>
                  <a:gd name="T1" fmla="*/ 28 h 39"/>
                  <a:gd name="T2" fmla="*/ 0 w 159"/>
                  <a:gd name="T3" fmla="*/ 39 h 39"/>
                  <a:gd name="T4" fmla="*/ 0 w 159"/>
                  <a:gd name="T5" fmla="*/ 17 h 39"/>
                  <a:gd name="T6" fmla="*/ 159 w 159"/>
                  <a:gd name="T7" fmla="*/ 0 h 39"/>
                  <a:gd name="T8" fmla="*/ 159 w 159"/>
                  <a:gd name="T9" fmla="*/ 28 h 39"/>
                </a:gdLst>
                <a:ahLst/>
                <a:cxnLst>
                  <a:cxn ang="0">
                    <a:pos x="T0" y="T1"/>
                  </a:cxn>
                  <a:cxn ang="0">
                    <a:pos x="T2" y="T3"/>
                  </a:cxn>
                  <a:cxn ang="0">
                    <a:pos x="T4" y="T5"/>
                  </a:cxn>
                  <a:cxn ang="0">
                    <a:pos x="T6" y="T7"/>
                  </a:cxn>
                  <a:cxn ang="0">
                    <a:pos x="T8" y="T9"/>
                  </a:cxn>
                </a:cxnLst>
                <a:rect l="0" t="0" r="r" b="b"/>
                <a:pathLst>
                  <a:path w="159" h="39">
                    <a:moveTo>
                      <a:pt x="159" y="28"/>
                    </a:moveTo>
                    <a:lnTo>
                      <a:pt x="0" y="39"/>
                    </a:lnTo>
                    <a:lnTo>
                      <a:pt x="0" y="17"/>
                    </a:lnTo>
                    <a:lnTo>
                      <a:pt x="159" y="0"/>
                    </a:lnTo>
                    <a:lnTo>
                      <a:pt x="159" y="28"/>
                    </a:lnTo>
                    <a:close/>
                  </a:path>
                </a:pathLst>
              </a:custGeom>
              <a:solidFill>
                <a:srgbClr val="A2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36"/>
              <p:cNvSpPr>
                <a:spLocks/>
              </p:cNvSpPr>
              <p:nvPr/>
            </p:nvSpPr>
            <p:spPr bwMode="auto">
              <a:xfrm>
                <a:off x="4621213" y="2027238"/>
                <a:ext cx="877887" cy="244475"/>
              </a:xfrm>
              <a:custGeom>
                <a:avLst/>
                <a:gdLst>
                  <a:gd name="T0" fmla="*/ 0 w 553"/>
                  <a:gd name="T1" fmla="*/ 154 h 154"/>
                  <a:gd name="T2" fmla="*/ 553 w 553"/>
                  <a:gd name="T3" fmla="*/ 22 h 154"/>
                  <a:gd name="T4" fmla="*/ 553 w 553"/>
                  <a:gd name="T5" fmla="*/ 0 h 154"/>
                  <a:gd name="T6" fmla="*/ 0 w 553"/>
                  <a:gd name="T7" fmla="*/ 126 h 154"/>
                  <a:gd name="T8" fmla="*/ 0 w 553"/>
                  <a:gd name="T9" fmla="*/ 154 h 154"/>
                </a:gdLst>
                <a:ahLst/>
                <a:cxnLst>
                  <a:cxn ang="0">
                    <a:pos x="T0" y="T1"/>
                  </a:cxn>
                  <a:cxn ang="0">
                    <a:pos x="T2" y="T3"/>
                  </a:cxn>
                  <a:cxn ang="0">
                    <a:pos x="T4" y="T5"/>
                  </a:cxn>
                  <a:cxn ang="0">
                    <a:pos x="T6" y="T7"/>
                  </a:cxn>
                  <a:cxn ang="0">
                    <a:pos x="T8" y="T9"/>
                  </a:cxn>
                </a:cxnLst>
                <a:rect l="0" t="0" r="r" b="b"/>
                <a:pathLst>
                  <a:path w="553" h="154">
                    <a:moveTo>
                      <a:pt x="0" y="154"/>
                    </a:moveTo>
                    <a:lnTo>
                      <a:pt x="553" y="22"/>
                    </a:lnTo>
                    <a:lnTo>
                      <a:pt x="553" y="0"/>
                    </a:lnTo>
                    <a:lnTo>
                      <a:pt x="0" y="126"/>
                    </a:lnTo>
                    <a:lnTo>
                      <a:pt x="0" y="154"/>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8"/>
              <p:cNvSpPr>
                <a:spLocks/>
              </p:cNvSpPr>
              <p:nvPr/>
            </p:nvSpPr>
            <p:spPr bwMode="auto">
              <a:xfrm>
                <a:off x="4613275" y="2139950"/>
                <a:ext cx="893762" cy="269875"/>
              </a:xfrm>
              <a:custGeom>
                <a:avLst/>
                <a:gdLst>
                  <a:gd name="T0" fmla="*/ 0 w 563"/>
                  <a:gd name="T1" fmla="*/ 170 h 170"/>
                  <a:gd name="T2" fmla="*/ 563 w 563"/>
                  <a:gd name="T3" fmla="*/ 22 h 170"/>
                  <a:gd name="T4" fmla="*/ 563 w 563"/>
                  <a:gd name="T5" fmla="*/ 0 h 170"/>
                  <a:gd name="T6" fmla="*/ 0 w 563"/>
                  <a:gd name="T7" fmla="*/ 143 h 170"/>
                  <a:gd name="T8" fmla="*/ 0 w 563"/>
                  <a:gd name="T9" fmla="*/ 170 h 170"/>
                </a:gdLst>
                <a:ahLst/>
                <a:cxnLst>
                  <a:cxn ang="0">
                    <a:pos x="T0" y="T1"/>
                  </a:cxn>
                  <a:cxn ang="0">
                    <a:pos x="T2" y="T3"/>
                  </a:cxn>
                  <a:cxn ang="0">
                    <a:pos x="T4" y="T5"/>
                  </a:cxn>
                  <a:cxn ang="0">
                    <a:pos x="T6" y="T7"/>
                  </a:cxn>
                  <a:cxn ang="0">
                    <a:pos x="T8" y="T9"/>
                  </a:cxn>
                </a:cxnLst>
                <a:rect l="0" t="0" r="r" b="b"/>
                <a:pathLst>
                  <a:path w="563" h="170">
                    <a:moveTo>
                      <a:pt x="0" y="170"/>
                    </a:moveTo>
                    <a:lnTo>
                      <a:pt x="563" y="22"/>
                    </a:lnTo>
                    <a:lnTo>
                      <a:pt x="563" y="0"/>
                    </a:lnTo>
                    <a:lnTo>
                      <a:pt x="0" y="143"/>
                    </a:lnTo>
                    <a:lnTo>
                      <a:pt x="0" y="170"/>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40"/>
              <p:cNvSpPr>
                <a:spLocks/>
              </p:cNvSpPr>
              <p:nvPr/>
            </p:nvSpPr>
            <p:spPr bwMode="auto">
              <a:xfrm>
                <a:off x="4621213" y="2262188"/>
                <a:ext cx="885825" cy="287338"/>
              </a:xfrm>
              <a:custGeom>
                <a:avLst/>
                <a:gdLst>
                  <a:gd name="T0" fmla="*/ 0 w 558"/>
                  <a:gd name="T1" fmla="*/ 181 h 181"/>
                  <a:gd name="T2" fmla="*/ 558 w 558"/>
                  <a:gd name="T3" fmla="*/ 22 h 181"/>
                  <a:gd name="T4" fmla="*/ 558 w 558"/>
                  <a:gd name="T5" fmla="*/ 0 h 181"/>
                  <a:gd name="T6" fmla="*/ 0 w 558"/>
                  <a:gd name="T7" fmla="*/ 154 h 181"/>
                  <a:gd name="T8" fmla="*/ 0 w 558"/>
                  <a:gd name="T9" fmla="*/ 181 h 181"/>
                </a:gdLst>
                <a:ahLst/>
                <a:cxnLst>
                  <a:cxn ang="0">
                    <a:pos x="T0" y="T1"/>
                  </a:cxn>
                  <a:cxn ang="0">
                    <a:pos x="T2" y="T3"/>
                  </a:cxn>
                  <a:cxn ang="0">
                    <a:pos x="T4" y="T5"/>
                  </a:cxn>
                  <a:cxn ang="0">
                    <a:pos x="T6" y="T7"/>
                  </a:cxn>
                  <a:cxn ang="0">
                    <a:pos x="T8" y="T9"/>
                  </a:cxn>
                </a:cxnLst>
                <a:rect l="0" t="0" r="r" b="b"/>
                <a:pathLst>
                  <a:path w="558" h="181">
                    <a:moveTo>
                      <a:pt x="0" y="181"/>
                    </a:moveTo>
                    <a:lnTo>
                      <a:pt x="558" y="22"/>
                    </a:lnTo>
                    <a:lnTo>
                      <a:pt x="558" y="0"/>
                    </a:lnTo>
                    <a:lnTo>
                      <a:pt x="0" y="154"/>
                    </a:lnTo>
                    <a:lnTo>
                      <a:pt x="0" y="18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42"/>
              <p:cNvSpPr>
                <a:spLocks/>
              </p:cNvSpPr>
              <p:nvPr/>
            </p:nvSpPr>
            <p:spPr bwMode="auto">
              <a:xfrm>
                <a:off x="4621213" y="2376488"/>
                <a:ext cx="885825" cy="312738"/>
              </a:xfrm>
              <a:custGeom>
                <a:avLst/>
                <a:gdLst>
                  <a:gd name="T0" fmla="*/ 0 w 558"/>
                  <a:gd name="T1" fmla="*/ 197 h 197"/>
                  <a:gd name="T2" fmla="*/ 558 w 558"/>
                  <a:gd name="T3" fmla="*/ 21 h 197"/>
                  <a:gd name="T4" fmla="*/ 558 w 558"/>
                  <a:gd name="T5" fmla="*/ 0 h 197"/>
                  <a:gd name="T6" fmla="*/ 0 w 558"/>
                  <a:gd name="T7" fmla="*/ 170 h 197"/>
                  <a:gd name="T8" fmla="*/ 0 w 558"/>
                  <a:gd name="T9" fmla="*/ 197 h 197"/>
                </a:gdLst>
                <a:ahLst/>
                <a:cxnLst>
                  <a:cxn ang="0">
                    <a:pos x="T0" y="T1"/>
                  </a:cxn>
                  <a:cxn ang="0">
                    <a:pos x="T2" y="T3"/>
                  </a:cxn>
                  <a:cxn ang="0">
                    <a:pos x="T4" y="T5"/>
                  </a:cxn>
                  <a:cxn ang="0">
                    <a:pos x="T6" y="T7"/>
                  </a:cxn>
                  <a:cxn ang="0">
                    <a:pos x="T8" y="T9"/>
                  </a:cxn>
                </a:cxnLst>
                <a:rect l="0" t="0" r="r" b="b"/>
                <a:pathLst>
                  <a:path w="558" h="197">
                    <a:moveTo>
                      <a:pt x="0" y="197"/>
                    </a:moveTo>
                    <a:lnTo>
                      <a:pt x="558" y="21"/>
                    </a:lnTo>
                    <a:lnTo>
                      <a:pt x="558" y="0"/>
                    </a:lnTo>
                    <a:lnTo>
                      <a:pt x="0" y="170"/>
                    </a:lnTo>
                    <a:lnTo>
                      <a:pt x="0" y="197"/>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44"/>
              <p:cNvSpPr>
                <a:spLocks/>
              </p:cNvSpPr>
              <p:nvPr/>
            </p:nvSpPr>
            <p:spPr bwMode="auto">
              <a:xfrm>
                <a:off x="4621213" y="2497138"/>
                <a:ext cx="885825" cy="331788"/>
              </a:xfrm>
              <a:custGeom>
                <a:avLst/>
                <a:gdLst>
                  <a:gd name="T0" fmla="*/ 0 w 558"/>
                  <a:gd name="T1" fmla="*/ 209 h 209"/>
                  <a:gd name="T2" fmla="*/ 558 w 558"/>
                  <a:gd name="T3" fmla="*/ 17 h 209"/>
                  <a:gd name="T4" fmla="*/ 558 w 558"/>
                  <a:gd name="T5" fmla="*/ 0 h 209"/>
                  <a:gd name="T6" fmla="*/ 0 w 558"/>
                  <a:gd name="T7" fmla="*/ 182 h 209"/>
                  <a:gd name="T8" fmla="*/ 0 w 558"/>
                  <a:gd name="T9" fmla="*/ 209 h 209"/>
                </a:gdLst>
                <a:ahLst/>
                <a:cxnLst>
                  <a:cxn ang="0">
                    <a:pos x="T0" y="T1"/>
                  </a:cxn>
                  <a:cxn ang="0">
                    <a:pos x="T2" y="T3"/>
                  </a:cxn>
                  <a:cxn ang="0">
                    <a:pos x="T4" y="T5"/>
                  </a:cxn>
                  <a:cxn ang="0">
                    <a:pos x="T6" y="T7"/>
                  </a:cxn>
                  <a:cxn ang="0">
                    <a:pos x="T8" y="T9"/>
                  </a:cxn>
                </a:cxnLst>
                <a:rect l="0" t="0" r="r" b="b"/>
                <a:pathLst>
                  <a:path w="558" h="209">
                    <a:moveTo>
                      <a:pt x="0" y="209"/>
                    </a:moveTo>
                    <a:lnTo>
                      <a:pt x="558" y="17"/>
                    </a:lnTo>
                    <a:lnTo>
                      <a:pt x="558" y="0"/>
                    </a:lnTo>
                    <a:lnTo>
                      <a:pt x="0" y="182"/>
                    </a:lnTo>
                    <a:lnTo>
                      <a:pt x="0" y="209"/>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9"/>
              <p:cNvSpPr>
                <a:spLocks/>
              </p:cNvSpPr>
              <p:nvPr/>
            </p:nvSpPr>
            <p:spPr bwMode="auto">
              <a:xfrm>
                <a:off x="4621213" y="2611438"/>
                <a:ext cx="885825" cy="357188"/>
              </a:xfrm>
              <a:custGeom>
                <a:avLst/>
                <a:gdLst>
                  <a:gd name="T0" fmla="*/ 0 w 558"/>
                  <a:gd name="T1" fmla="*/ 225 h 225"/>
                  <a:gd name="T2" fmla="*/ 558 w 558"/>
                  <a:gd name="T3" fmla="*/ 22 h 225"/>
                  <a:gd name="T4" fmla="*/ 558 w 558"/>
                  <a:gd name="T5" fmla="*/ 0 h 225"/>
                  <a:gd name="T6" fmla="*/ 0 w 558"/>
                  <a:gd name="T7" fmla="*/ 197 h 225"/>
                  <a:gd name="T8" fmla="*/ 0 w 558"/>
                  <a:gd name="T9" fmla="*/ 225 h 225"/>
                </a:gdLst>
                <a:ahLst/>
                <a:cxnLst>
                  <a:cxn ang="0">
                    <a:pos x="T0" y="T1"/>
                  </a:cxn>
                  <a:cxn ang="0">
                    <a:pos x="T2" y="T3"/>
                  </a:cxn>
                  <a:cxn ang="0">
                    <a:pos x="T4" y="T5"/>
                  </a:cxn>
                  <a:cxn ang="0">
                    <a:pos x="T6" y="T7"/>
                  </a:cxn>
                  <a:cxn ang="0">
                    <a:pos x="T8" y="T9"/>
                  </a:cxn>
                </a:cxnLst>
                <a:rect l="0" t="0" r="r" b="b"/>
                <a:pathLst>
                  <a:path w="558" h="225">
                    <a:moveTo>
                      <a:pt x="0" y="225"/>
                    </a:moveTo>
                    <a:lnTo>
                      <a:pt x="558" y="22"/>
                    </a:lnTo>
                    <a:lnTo>
                      <a:pt x="558" y="0"/>
                    </a:lnTo>
                    <a:lnTo>
                      <a:pt x="0" y="197"/>
                    </a:lnTo>
                    <a:lnTo>
                      <a:pt x="0" y="225"/>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50"/>
              <p:cNvSpPr>
                <a:spLocks/>
              </p:cNvSpPr>
              <p:nvPr/>
            </p:nvSpPr>
            <p:spPr bwMode="auto">
              <a:xfrm>
                <a:off x="4621213" y="2733675"/>
                <a:ext cx="885825" cy="374650"/>
              </a:xfrm>
              <a:custGeom>
                <a:avLst/>
                <a:gdLst>
                  <a:gd name="T0" fmla="*/ 0 w 558"/>
                  <a:gd name="T1" fmla="*/ 236 h 236"/>
                  <a:gd name="T2" fmla="*/ 558 w 558"/>
                  <a:gd name="T3" fmla="*/ 22 h 236"/>
                  <a:gd name="T4" fmla="*/ 558 w 558"/>
                  <a:gd name="T5" fmla="*/ 0 h 236"/>
                  <a:gd name="T6" fmla="*/ 0 w 558"/>
                  <a:gd name="T7" fmla="*/ 208 h 236"/>
                  <a:gd name="T8" fmla="*/ 0 w 558"/>
                  <a:gd name="T9" fmla="*/ 236 h 236"/>
                </a:gdLst>
                <a:ahLst/>
                <a:cxnLst>
                  <a:cxn ang="0">
                    <a:pos x="T0" y="T1"/>
                  </a:cxn>
                  <a:cxn ang="0">
                    <a:pos x="T2" y="T3"/>
                  </a:cxn>
                  <a:cxn ang="0">
                    <a:pos x="T4" y="T5"/>
                  </a:cxn>
                  <a:cxn ang="0">
                    <a:pos x="T6" y="T7"/>
                  </a:cxn>
                  <a:cxn ang="0">
                    <a:pos x="T8" y="T9"/>
                  </a:cxn>
                </a:cxnLst>
                <a:rect l="0" t="0" r="r" b="b"/>
                <a:pathLst>
                  <a:path w="558" h="236">
                    <a:moveTo>
                      <a:pt x="0" y="236"/>
                    </a:moveTo>
                    <a:lnTo>
                      <a:pt x="558" y="22"/>
                    </a:lnTo>
                    <a:lnTo>
                      <a:pt x="558" y="0"/>
                    </a:lnTo>
                    <a:lnTo>
                      <a:pt x="0" y="208"/>
                    </a:lnTo>
                    <a:lnTo>
                      <a:pt x="0" y="236"/>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51"/>
              <p:cNvSpPr>
                <a:spLocks/>
              </p:cNvSpPr>
              <p:nvPr/>
            </p:nvSpPr>
            <p:spPr bwMode="auto">
              <a:xfrm>
                <a:off x="4621213" y="2846388"/>
                <a:ext cx="885825" cy="401638"/>
              </a:xfrm>
              <a:custGeom>
                <a:avLst/>
                <a:gdLst>
                  <a:gd name="T0" fmla="*/ 0 w 558"/>
                  <a:gd name="T1" fmla="*/ 253 h 253"/>
                  <a:gd name="T2" fmla="*/ 558 w 558"/>
                  <a:gd name="T3" fmla="*/ 22 h 253"/>
                  <a:gd name="T4" fmla="*/ 558 w 558"/>
                  <a:gd name="T5" fmla="*/ 0 h 253"/>
                  <a:gd name="T6" fmla="*/ 0 w 558"/>
                  <a:gd name="T7" fmla="*/ 225 h 253"/>
                  <a:gd name="T8" fmla="*/ 0 w 558"/>
                  <a:gd name="T9" fmla="*/ 253 h 253"/>
                </a:gdLst>
                <a:ahLst/>
                <a:cxnLst>
                  <a:cxn ang="0">
                    <a:pos x="T0" y="T1"/>
                  </a:cxn>
                  <a:cxn ang="0">
                    <a:pos x="T2" y="T3"/>
                  </a:cxn>
                  <a:cxn ang="0">
                    <a:pos x="T4" y="T5"/>
                  </a:cxn>
                  <a:cxn ang="0">
                    <a:pos x="T6" y="T7"/>
                  </a:cxn>
                  <a:cxn ang="0">
                    <a:pos x="T8" y="T9"/>
                  </a:cxn>
                </a:cxnLst>
                <a:rect l="0" t="0" r="r" b="b"/>
                <a:pathLst>
                  <a:path w="558" h="253">
                    <a:moveTo>
                      <a:pt x="0" y="253"/>
                    </a:moveTo>
                    <a:lnTo>
                      <a:pt x="558" y="22"/>
                    </a:lnTo>
                    <a:lnTo>
                      <a:pt x="558" y="0"/>
                    </a:lnTo>
                    <a:lnTo>
                      <a:pt x="0" y="225"/>
                    </a:lnTo>
                    <a:lnTo>
                      <a:pt x="0" y="253"/>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52"/>
              <p:cNvSpPr>
                <a:spLocks/>
              </p:cNvSpPr>
              <p:nvPr/>
            </p:nvSpPr>
            <p:spPr bwMode="auto">
              <a:xfrm>
                <a:off x="4621213" y="2968625"/>
                <a:ext cx="885825" cy="417513"/>
              </a:xfrm>
              <a:custGeom>
                <a:avLst/>
                <a:gdLst>
                  <a:gd name="T0" fmla="*/ 0 w 558"/>
                  <a:gd name="T1" fmla="*/ 263 h 263"/>
                  <a:gd name="T2" fmla="*/ 558 w 558"/>
                  <a:gd name="T3" fmla="*/ 22 h 263"/>
                  <a:gd name="T4" fmla="*/ 558 w 558"/>
                  <a:gd name="T5" fmla="*/ 0 h 263"/>
                  <a:gd name="T6" fmla="*/ 0 w 558"/>
                  <a:gd name="T7" fmla="*/ 236 h 263"/>
                  <a:gd name="T8" fmla="*/ 0 w 558"/>
                  <a:gd name="T9" fmla="*/ 263 h 263"/>
                </a:gdLst>
                <a:ahLst/>
                <a:cxnLst>
                  <a:cxn ang="0">
                    <a:pos x="T0" y="T1"/>
                  </a:cxn>
                  <a:cxn ang="0">
                    <a:pos x="T2" y="T3"/>
                  </a:cxn>
                  <a:cxn ang="0">
                    <a:pos x="T4" y="T5"/>
                  </a:cxn>
                  <a:cxn ang="0">
                    <a:pos x="T6" y="T7"/>
                  </a:cxn>
                  <a:cxn ang="0">
                    <a:pos x="T8" y="T9"/>
                  </a:cxn>
                </a:cxnLst>
                <a:rect l="0" t="0" r="r" b="b"/>
                <a:pathLst>
                  <a:path w="558" h="263">
                    <a:moveTo>
                      <a:pt x="0" y="263"/>
                    </a:moveTo>
                    <a:lnTo>
                      <a:pt x="558" y="22"/>
                    </a:lnTo>
                    <a:lnTo>
                      <a:pt x="558" y="0"/>
                    </a:lnTo>
                    <a:lnTo>
                      <a:pt x="0" y="236"/>
                    </a:lnTo>
                    <a:lnTo>
                      <a:pt x="0" y="263"/>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53"/>
              <p:cNvSpPr>
                <a:spLocks/>
              </p:cNvSpPr>
              <p:nvPr/>
            </p:nvSpPr>
            <p:spPr bwMode="auto">
              <a:xfrm>
                <a:off x="4621213" y="3081338"/>
                <a:ext cx="885825" cy="444500"/>
              </a:xfrm>
              <a:custGeom>
                <a:avLst/>
                <a:gdLst>
                  <a:gd name="T0" fmla="*/ 0 w 558"/>
                  <a:gd name="T1" fmla="*/ 280 h 280"/>
                  <a:gd name="T2" fmla="*/ 558 w 558"/>
                  <a:gd name="T3" fmla="*/ 22 h 280"/>
                  <a:gd name="T4" fmla="*/ 558 w 558"/>
                  <a:gd name="T5" fmla="*/ 0 h 280"/>
                  <a:gd name="T6" fmla="*/ 0 w 558"/>
                  <a:gd name="T7" fmla="*/ 253 h 280"/>
                  <a:gd name="T8" fmla="*/ 0 w 558"/>
                  <a:gd name="T9" fmla="*/ 280 h 280"/>
                </a:gdLst>
                <a:ahLst/>
                <a:cxnLst>
                  <a:cxn ang="0">
                    <a:pos x="T0" y="T1"/>
                  </a:cxn>
                  <a:cxn ang="0">
                    <a:pos x="T2" y="T3"/>
                  </a:cxn>
                  <a:cxn ang="0">
                    <a:pos x="T4" y="T5"/>
                  </a:cxn>
                  <a:cxn ang="0">
                    <a:pos x="T6" y="T7"/>
                  </a:cxn>
                  <a:cxn ang="0">
                    <a:pos x="T8" y="T9"/>
                  </a:cxn>
                </a:cxnLst>
                <a:rect l="0" t="0" r="r" b="b"/>
                <a:pathLst>
                  <a:path w="558" h="280">
                    <a:moveTo>
                      <a:pt x="0" y="280"/>
                    </a:moveTo>
                    <a:lnTo>
                      <a:pt x="558" y="22"/>
                    </a:lnTo>
                    <a:lnTo>
                      <a:pt x="558" y="0"/>
                    </a:lnTo>
                    <a:lnTo>
                      <a:pt x="0" y="253"/>
                    </a:lnTo>
                    <a:lnTo>
                      <a:pt x="0" y="280"/>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4621213" y="3203575"/>
                <a:ext cx="885825" cy="461963"/>
              </a:xfrm>
              <a:custGeom>
                <a:avLst/>
                <a:gdLst>
                  <a:gd name="T0" fmla="*/ 0 w 558"/>
                  <a:gd name="T1" fmla="*/ 291 h 291"/>
                  <a:gd name="T2" fmla="*/ 558 w 558"/>
                  <a:gd name="T3" fmla="*/ 22 h 291"/>
                  <a:gd name="T4" fmla="*/ 558 w 558"/>
                  <a:gd name="T5" fmla="*/ 0 h 291"/>
                  <a:gd name="T6" fmla="*/ 0 w 558"/>
                  <a:gd name="T7" fmla="*/ 264 h 291"/>
                  <a:gd name="T8" fmla="*/ 0 w 558"/>
                  <a:gd name="T9" fmla="*/ 291 h 291"/>
                </a:gdLst>
                <a:ahLst/>
                <a:cxnLst>
                  <a:cxn ang="0">
                    <a:pos x="T0" y="T1"/>
                  </a:cxn>
                  <a:cxn ang="0">
                    <a:pos x="T2" y="T3"/>
                  </a:cxn>
                  <a:cxn ang="0">
                    <a:pos x="T4" y="T5"/>
                  </a:cxn>
                  <a:cxn ang="0">
                    <a:pos x="T6" y="T7"/>
                  </a:cxn>
                  <a:cxn ang="0">
                    <a:pos x="T8" y="T9"/>
                  </a:cxn>
                </a:cxnLst>
                <a:rect l="0" t="0" r="r" b="b"/>
                <a:pathLst>
                  <a:path w="558" h="291">
                    <a:moveTo>
                      <a:pt x="0" y="291"/>
                    </a:moveTo>
                    <a:lnTo>
                      <a:pt x="558" y="22"/>
                    </a:lnTo>
                    <a:lnTo>
                      <a:pt x="558" y="0"/>
                    </a:lnTo>
                    <a:lnTo>
                      <a:pt x="0" y="264"/>
                    </a:lnTo>
                    <a:lnTo>
                      <a:pt x="0" y="29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55"/>
              <p:cNvSpPr>
                <a:spLocks/>
              </p:cNvSpPr>
              <p:nvPr/>
            </p:nvSpPr>
            <p:spPr bwMode="auto">
              <a:xfrm>
                <a:off x="3736975" y="2027238"/>
                <a:ext cx="884237" cy="244475"/>
              </a:xfrm>
              <a:custGeom>
                <a:avLst/>
                <a:gdLst>
                  <a:gd name="T0" fmla="*/ 0 w 557"/>
                  <a:gd name="T1" fmla="*/ 0 h 154"/>
                  <a:gd name="T2" fmla="*/ 557 w 557"/>
                  <a:gd name="T3" fmla="*/ 126 h 154"/>
                  <a:gd name="T4" fmla="*/ 557 w 557"/>
                  <a:gd name="T5" fmla="*/ 154 h 154"/>
                  <a:gd name="T6" fmla="*/ 0 w 557"/>
                  <a:gd name="T7" fmla="*/ 22 h 154"/>
                  <a:gd name="T8" fmla="*/ 0 w 557"/>
                  <a:gd name="T9" fmla="*/ 0 h 154"/>
                </a:gdLst>
                <a:ahLst/>
                <a:cxnLst>
                  <a:cxn ang="0">
                    <a:pos x="T0" y="T1"/>
                  </a:cxn>
                  <a:cxn ang="0">
                    <a:pos x="T2" y="T3"/>
                  </a:cxn>
                  <a:cxn ang="0">
                    <a:pos x="T4" y="T5"/>
                  </a:cxn>
                  <a:cxn ang="0">
                    <a:pos x="T6" y="T7"/>
                  </a:cxn>
                  <a:cxn ang="0">
                    <a:pos x="T8" y="T9"/>
                  </a:cxn>
                </a:cxnLst>
                <a:rect l="0" t="0" r="r" b="b"/>
                <a:pathLst>
                  <a:path w="557" h="154">
                    <a:moveTo>
                      <a:pt x="0" y="0"/>
                    </a:moveTo>
                    <a:lnTo>
                      <a:pt x="557" y="126"/>
                    </a:lnTo>
                    <a:lnTo>
                      <a:pt x="557" y="154"/>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56"/>
              <p:cNvSpPr>
                <a:spLocks/>
              </p:cNvSpPr>
              <p:nvPr/>
            </p:nvSpPr>
            <p:spPr bwMode="auto">
              <a:xfrm>
                <a:off x="3736975" y="2139950"/>
                <a:ext cx="884237" cy="269875"/>
              </a:xfrm>
              <a:custGeom>
                <a:avLst/>
                <a:gdLst>
                  <a:gd name="T0" fmla="*/ 0 w 557"/>
                  <a:gd name="T1" fmla="*/ 0 h 170"/>
                  <a:gd name="T2" fmla="*/ 557 w 557"/>
                  <a:gd name="T3" fmla="*/ 143 h 170"/>
                  <a:gd name="T4" fmla="*/ 557 w 557"/>
                  <a:gd name="T5" fmla="*/ 170 h 170"/>
                  <a:gd name="T6" fmla="*/ 0 w 557"/>
                  <a:gd name="T7" fmla="*/ 22 h 170"/>
                  <a:gd name="T8" fmla="*/ 0 w 557"/>
                  <a:gd name="T9" fmla="*/ 0 h 170"/>
                </a:gdLst>
                <a:ahLst/>
                <a:cxnLst>
                  <a:cxn ang="0">
                    <a:pos x="T0" y="T1"/>
                  </a:cxn>
                  <a:cxn ang="0">
                    <a:pos x="T2" y="T3"/>
                  </a:cxn>
                  <a:cxn ang="0">
                    <a:pos x="T4" y="T5"/>
                  </a:cxn>
                  <a:cxn ang="0">
                    <a:pos x="T6" y="T7"/>
                  </a:cxn>
                  <a:cxn ang="0">
                    <a:pos x="T8" y="T9"/>
                  </a:cxn>
                </a:cxnLst>
                <a:rect l="0" t="0" r="r" b="b"/>
                <a:pathLst>
                  <a:path w="557" h="170">
                    <a:moveTo>
                      <a:pt x="0" y="0"/>
                    </a:moveTo>
                    <a:lnTo>
                      <a:pt x="557" y="143"/>
                    </a:lnTo>
                    <a:lnTo>
                      <a:pt x="557" y="170"/>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82"/>
              <p:cNvSpPr>
                <a:spLocks/>
              </p:cNvSpPr>
              <p:nvPr/>
            </p:nvSpPr>
            <p:spPr bwMode="auto">
              <a:xfrm>
                <a:off x="3736975" y="2262188"/>
                <a:ext cx="884237" cy="287338"/>
              </a:xfrm>
              <a:custGeom>
                <a:avLst/>
                <a:gdLst>
                  <a:gd name="T0" fmla="*/ 0 w 557"/>
                  <a:gd name="T1" fmla="*/ 0 h 181"/>
                  <a:gd name="T2" fmla="*/ 557 w 557"/>
                  <a:gd name="T3" fmla="*/ 154 h 181"/>
                  <a:gd name="T4" fmla="*/ 557 w 557"/>
                  <a:gd name="T5" fmla="*/ 181 h 181"/>
                  <a:gd name="T6" fmla="*/ 0 w 557"/>
                  <a:gd name="T7" fmla="*/ 22 h 181"/>
                  <a:gd name="T8" fmla="*/ 0 w 557"/>
                  <a:gd name="T9" fmla="*/ 0 h 181"/>
                </a:gdLst>
                <a:ahLst/>
                <a:cxnLst>
                  <a:cxn ang="0">
                    <a:pos x="T0" y="T1"/>
                  </a:cxn>
                  <a:cxn ang="0">
                    <a:pos x="T2" y="T3"/>
                  </a:cxn>
                  <a:cxn ang="0">
                    <a:pos x="T4" y="T5"/>
                  </a:cxn>
                  <a:cxn ang="0">
                    <a:pos x="T6" y="T7"/>
                  </a:cxn>
                  <a:cxn ang="0">
                    <a:pos x="T8" y="T9"/>
                  </a:cxn>
                </a:cxnLst>
                <a:rect l="0" t="0" r="r" b="b"/>
                <a:pathLst>
                  <a:path w="557" h="181">
                    <a:moveTo>
                      <a:pt x="0" y="0"/>
                    </a:moveTo>
                    <a:lnTo>
                      <a:pt x="557" y="154"/>
                    </a:lnTo>
                    <a:lnTo>
                      <a:pt x="557" y="181"/>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83"/>
              <p:cNvSpPr>
                <a:spLocks/>
              </p:cNvSpPr>
              <p:nvPr/>
            </p:nvSpPr>
            <p:spPr bwMode="auto">
              <a:xfrm>
                <a:off x="3736975" y="2376488"/>
                <a:ext cx="884237" cy="312738"/>
              </a:xfrm>
              <a:custGeom>
                <a:avLst/>
                <a:gdLst>
                  <a:gd name="T0" fmla="*/ 0 w 557"/>
                  <a:gd name="T1" fmla="*/ 0 h 197"/>
                  <a:gd name="T2" fmla="*/ 557 w 557"/>
                  <a:gd name="T3" fmla="*/ 170 h 197"/>
                  <a:gd name="T4" fmla="*/ 557 w 557"/>
                  <a:gd name="T5" fmla="*/ 197 h 197"/>
                  <a:gd name="T6" fmla="*/ 0 w 557"/>
                  <a:gd name="T7" fmla="*/ 21 h 197"/>
                  <a:gd name="T8" fmla="*/ 0 w 557"/>
                  <a:gd name="T9" fmla="*/ 0 h 197"/>
                </a:gdLst>
                <a:ahLst/>
                <a:cxnLst>
                  <a:cxn ang="0">
                    <a:pos x="T0" y="T1"/>
                  </a:cxn>
                  <a:cxn ang="0">
                    <a:pos x="T2" y="T3"/>
                  </a:cxn>
                  <a:cxn ang="0">
                    <a:pos x="T4" y="T5"/>
                  </a:cxn>
                  <a:cxn ang="0">
                    <a:pos x="T6" y="T7"/>
                  </a:cxn>
                  <a:cxn ang="0">
                    <a:pos x="T8" y="T9"/>
                  </a:cxn>
                </a:cxnLst>
                <a:rect l="0" t="0" r="r" b="b"/>
                <a:pathLst>
                  <a:path w="557" h="197">
                    <a:moveTo>
                      <a:pt x="0" y="0"/>
                    </a:moveTo>
                    <a:lnTo>
                      <a:pt x="557" y="170"/>
                    </a:lnTo>
                    <a:lnTo>
                      <a:pt x="557" y="197"/>
                    </a:lnTo>
                    <a:lnTo>
                      <a:pt x="0" y="21"/>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84"/>
              <p:cNvSpPr>
                <a:spLocks/>
              </p:cNvSpPr>
              <p:nvPr/>
            </p:nvSpPr>
            <p:spPr bwMode="auto">
              <a:xfrm>
                <a:off x="3736975" y="2497138"/>
                <a:ext cx="884237" cy="331788"/>
              </a:xfrm>
              <a:custGeom>
                <a:avLst/>
                <a:gdLst>
                  <a:gd name="T0" fmla="*/ 0 w 557"/>
                  <a:gd name="T1" fmla="*/ 0 h 209"/>
                  <a:gd name="T2" fmla="*/ 557 w 557"/>
                  <a:gd name="T3" fmla="*/ 182 h 209"/>
                  <a:gd name="T4" fmla="*/ 557 w 557"/>
                  <a:gd name="T5" fmla="*/ 209 h 209"/>
                  <a:gd name="T6" fmla="*/ 0 w 557"/>
                  <a:gd name="T7" fmla="*/ 22 h 209"/>
                  <a:gd name="T8" fmla="*/ 0 w 557"/>
                  <a:gd name="T9" fmla="*/ 0 h 209"/>
                </a:gdLst>
                <a:ahLst/>
                <a:cxnLst>
                  <a:cxn ang="0">
                    <a:pos x="T0" y="T1"/>
                  </a:cxn>
                  <a:cxn ang="0">
                    <a:pos x="T2" y="T3"/>
                  </a:cxn>
                  <a:cxn ang="0">
                    <a:pos x="T4" y="T5"/>
                  </a:cxn>
                  <a:cxn ang="0">
                    <a:pos x="T6" y="T7"/>
                  </a:cxn>
                  <a:cxn ang="0">
                    <a:pos x="T8" y="T9"/>
                  </a:cxn>
                </a:cxnLst>
                <a:rect l="0" t="0" r="r" b="b"/>
                <a:pathLst>
                  <a:path w="557" h="209">
                    <a:moveTo>
                      <a:pt x="0" y="0"/>
                    </a:moveTo>
                    <a:lnTo>
                      <a:pt x="557" y="182"/>
                    </a:lnTo>
                    <a:lnTo>
                      <a:pt x="557" y="209"/>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85"/>
              <p:cNvSpPr>
                <a:spLocks/>
              </p:cNvSpPr>
              <p:nvPr/>
            </p:nvSpPr>
            <p:spPr bwMode="auto">
              <a:xfrm>
                <a:off x="3736975" y="2611438"/>
                <a:ext cx="884237" cy="357188"/>
              </a:xfrm>
              <a:custGeom>
                <a:avLst/>
                <a:gdLst>
                  <a:gd name="T0" fmla="*/ 0 w 557"/>
                  <a:gd name="T1" fmla="*/ 0 h 225"/>
                  <a:gd name="T2" fmla="*/ 557 w 557"/>
                  <a:gd name="T3" fmla="*/ 197 h 225"/>
                  <a:gd name="T4" fmla="*/ 557 w 557"/>
                  <a:gd name="T5" fmla="*/ 225 h 225"/>
                  <a:gd name="T6" fmla="*/ 0 w 557"/>
                  <a:gd name="T7" fmla="*/ 27 h 225"/>
                  <a:gd name="T8" fmla="*/ 0 w 557"/>
                  <a:gd name="T9" fmla="*/ 0 h 225"/>
                </a:gdLst>
                <a:ahLst/>
                <a:cxnLst>
                  <a:cxn ang="0">
                    <a:pos x="T0" y="T1"/>
                  </a:cxn>
                  <a:cxn ang="0">
                    <a:pos x="T2" y="T3"/>
                  </a:cxn>
                  <a:cxn ang="0">
                    <a:pos x="T4" y="T5"/>
                  </a:cxn>
                  <a:cxn ang="0">
                    <a:pos x="T6" y="T7"/>
                  </a:cxn>
                  <a:cxn ang="0">
                    <a:pos x="T8" y="T9"/>
                  </a:cxn>
                </a:cxnLst>
                <a:rect l="0" t="0" r="r" b="b"/>
                <a:pathLst>
                  <a:path w="557" h="225">
                    <a:moveTo>
                      <a:pt x="0" y="0"/>
                    </a:moveTo>
                    <a:lnTo>
                      <a:pt x="557" y="197"/>
                    </a:lnTo>
                    <a:lnTo>
                      <a:pt x="557" y="225"/>
                    </a:lnTo>
                    <a:lnTo>
                      <a:pt x="0" y="27"/>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86"/>
              <p:cNvSpPr>
                <a:spLocks/>
              </p:cNvSpPr>
              <p:nvPr/>
            </p:nvSpPr>
            <p:spPr bwMode="auto">
              <a:xfrm>
                <a:off x="3736975" y="2733675"/>
                <a:ext cx="884237" cy="374650"/>
              </a:xfrm>
              <a:custGeom>
                <a:avLst/>
                <a:gdLst>
                  <a:gd name="T0" fmla="*/ 0 w 557"/>
                  <a:gd name="T1" fmla="*/ 0 h 236"/>
                  <a:gd name="T2" fmla="*/ 557 w 557"/>
                  <a:gd name="T3" fmla="*/ 208 h 236"/>
                  <a:gd name="T4" fmla="*/ 557 w 557"/>
                  <a:gd name="T5" fmla="*/ 236 h 236"/>
                  <a:gd name="T6" fmla="*/ 0 w 557"/>
                  <a:gd name="T7" fmla="*/ 22 h 236"/>
                  <a:gd name="T8" fmla="*/ 0 w 557"/>
                  <a:gd name="T9" fmla="*/ 0 h 236"/>
                </a:gdLst>
                <a:ahLst/>
                <a:cxnLst>
                  <a:cxn ang="0">
                    <a:pos x="T0" y="T1"/>
                  </a:cxn>
                  <a:cxn ang="0">
                    <a:pos x="T2" y="T3"/>
                  </a:cxn>
                  <a:cxn ang="0">
                    <a:pos x="T4" y="T5"/>
                  </a:cxn>
                  <a:cxn ang="0">
                    <a:pos x="T6" y="T7"/>
                  </a:cxn>
                  <a:cxn ang="0">
                    <a:pos x="T8" y="T9"/>
                  </a:cxn>
                </a:cxnLst>
                <a:rect l="0" t="0" r="r" b="b"/>
                <a:pathLst>
                  <a:path w="557" h="236">
                    <a:moveTo>
                      <a:pt x="0" y="0"/>
                    </a:moveTo>
                    <a:lnTo>
                      <a:pt x="557" y="208"/>
                    </a:lnTo>
                    <a:lnTo>
                      <a:pt x="557" y="236"/>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87"/>
              <p:cNvSpPr>
                <a:spLocks/>
              </p:cNvSpPr>
              <p:nvPr/>
            </p:nvSpPr>
            <p:spPr bwMode="auto">
              <a:xfrm>
                <a:off x="3736975" y="2855913"/>
                <a:ext cx="884237" cy="392113"/>
              </a:xfrm>
              <a:custGeom>
                <a:avLst/>
                <a:gdLst>
                  <a:gd name="T0" fmla="*/ 0 w 557"/>
                  <a:gd name="T1" fmla="*/ 0 h 247"/>
                  <a:gd name="T2" fmla="*/ 557 w 557"/>
                  <a:gd name="T3" fmla="*/ 219 h 247"/>
                  <a:gd name="T4" fmla="*/ 557 w 557"/>
                  <a:gd name="T5" fmla="*/ 247 h 247"/>
                  <a:gd name="T6" fmla="*/ 0 w 557"/>
                  <a:gd name="T7" fmla="*/ 21 h 247"/>
                  <a:gd name="T8" fmla="*/ 0 w 557"/>
                  <a:gd name="T9" fmla="*/ 0 h 247"/>
                </a:gdLst>
                <a:ahLst/>
                <a:cxnLst>
                  <a:cxn ang="0">
                    <a:pos x="T0" y="T1"/>
                  </a:cxn>
                  <a:cxn ang="0">
                    <a:pos x="T2" y="T3"/>
                  </a:cxn>
                  <a:cxn ang="0">
                    <a:pos x="T4" y="T5"/>
                  </a:cxn>
                  <a:cxn ang="0">
                    <a:pos x="T6" y="T7"/>
                  </a:cxn>
                  <a:cxn ang="0">
                    <a:pos x="T8" y="T9"/>
                  </a:cxn>
                </a:cxnLst>
                <a:rect l="0" t="0" r="r" b="b"/>
                <a:pathLst>
                  <a:path w="557" h="247">
                    <a:moveTo>
                      <a:pt x="0" y="0"/>
                    </a:moveTo>
                    <a:lnTo>
                      <a:pt x="557" y="219"/>
                    </a:lnTo>
                    <a:lnTo>
                      <a:pt x="557" y="247"/>
                    </a:lnTo>
                    <a:lnTo>
                      <a:pt x="0" y="21"/>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88"/>
              <p:cNvSpPr>
                <a:spLocks/>
              </p:cNvSpPr>
              <p:nvPr/>
            </p:nvSpPr>
            <p:spPr bwMode="auto">
              <a:xfrm>
                <a:off x="3736975" y="2968625"/>
                <a:ext cx="884237" cy="417513"/>
              </a:xfrm>
              <a:custGeom>
                <a:avLst/>
                <a:gdLst>
                  <a:gd name="T0" fmla="*/ 0 w 557"/>
                  <a:gd name="T1" fmla="*/ 0 h 263"/>
                  <a:gd name="T2" fmla="*/ 557 w 557"/>
                  <a:gd name="T3" fmla="*/ 236 h 263"/>
                  <a:gd name="T4" fmla="*/ 557 w 557"/>
                  <a:gd name="T5" fmla="*/ 263 h 263"/>
                  <a:gd name="T6" fmla="*/ 0 w 557"/>
                  <a:gd name="T7" fmla="*/ 22 h 263"/>
                  <a:gd name="T8" fmla="*/ 0 w 557"/>
                  <a:gd name="T9" fmla="*/ 0 h 263"/>
                </a:gdLst>
                <a:ahLst/>
                <a:cxnLst>
                  <a:cxn ang="0">
                    <a:pos x="T0" y="T1"/>
                  </a:cxn>
                  <a:cxn ang="0">
                    <a:pos x="T2" y="T3"/>
                  </a:cxn>
                  <a:cxn ang="0">
                    <a:pos x="T4" y="T5"/>
                  </a:cxn>
                  <a:cxn ang="0">
                    <a:pos x="T6" y="T7"/>
                  </a:cxn>
                  <a:cxn ang="0">
                    <a:pos x="T8" y="T9"/>
                  </a:cxn>
                </a:cxnLst>
                <a:rect l="0" t="0" r="r" b="b"/>
                <a:pathLst>
                  <a:path w="557" h="263">
                    <a:moveTo>
                      <a:pt x="0" y="0"/>
                    </a:moveTo>
                    <a:lnTo>
                      <a:pt x="557" y="236"/>
                    </a:lnTo>
                    <a:lnTo>
                      <a:pt x="557" y="263"/>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89"/>
              <p:cNvSpPr>
                <a:spLocks/>
              </p:cNvSpPr>
              <p:nvPr/>
            </p:nvSpPr>
            <p:spPr bwMode="auto">
              <a:xfrm>
                <a:off x="3736975" y="3090863"/>
                <a:ext cx="884237" cy="434975"/>
              </a:xfrm>
              <a:custGeom>
                <a:avLst/>
                <a:gdLst>
                  <a:gd name="T0" fmla="*/ 0 w 557"/>
                  <a:gd name="T1" fmla="*/ 0 h 274"/>
                  <a:gd name="T2" fmla="*/ 557 w 557"/>
                  <a:gd name="T3" fmla="*/ 247 h 274"/>
                  <a:gd name="T4" fmla="*/ 557 w 557"/>
                  <a:gd name="T5" fmla="*/ 274 h 274"/>
                  <a:gd name="T6" fmla="*/ 0 w 557"/>
                  <a:gd name="T7" fmla="*/ 22 h 274"/>
                  <a:gd name="T8" fmla="*/ 0 w 557"/>
                  <a:gd name="T9" fmla="*/ 0 h 274"/>
                </a:gdLst>
                <a:ahLst/>
                <a:cxnLst>
                  <a:cxn ang="0">
                    <a:pos x="T0" y="T1"/>
                  </a:cxn>
                  <a:cxn ang="0">
                    <a:pos x="T2" y="T3"/>
                  </a:cxn>
                  <a:cxn ang="0">
                    <a:pos x="T4" y="T5"/>
                  </a:cxn>
                  <a:cxn ang="0">
                    <a:pos x="T6" y="T7"/>
                  </a:cxn>
                  <a:cxn ang="0">
                    <a:pos x="T8" y="T9"/>
                  </a:cxn>
                </a:cxnLst>
                <a:rect l="0" t="0" r="r" b="b"/>
                <a:pathLst>
                  <a:path w="557" h="274">
                    <a:moveTo>
                      <a:pt x="0" y="0"/>
                    </a:moveTo>
                    <a:lnTo>
                      <a:pt x="557" y="247"/>
                    </a:lnTo>
                    <a:lnTo>
                      <a:pt x="557" y="274"/>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90"/>
              <p:cNvSpPr>
                <a:spLocks/>
              </p:cNvSpPr>
              <p:nvPr/>
            </p:nvSpPr>
            <p:spPr bwMode="auto">
              <a:xfrm>
                <a:off x="3736975" y="3213100"/>
                <a:ext cx="884237" cy="452438"/>
              </a:xfrm>
              <a:custGeom>
                <a:avLst/>
                <a:gdLst>
                  <a:gd name="T0" fmla="*/ 0 w 557"/>
                  <a:gd name="T1" fmla="*/ 0 h 285"/>
                  <a:gd name="T2" fmla="*/ 557 w 557"/>
                  <a:gd name="T3" fmla="*/ 258 h 285"/>
                  <a:gd name="T4" fmla="*/ 557 w 557"/>
                  <a:gd name="T5" fmla="*/ 285 h 285"/>
                  <a:gd name="T6" fmla="*/ 0 w 557"/>
                  <a:gd name="T7" fmla="*/ 22 h 285"/>
                  <a:gd name="T8" fmla="*/ 0 w 557"/>
                  <a:gd name="T9" fmla="*/ 0 h 285"/>
                </a:gdLst>
                <a:ahLst/>
                <a:cxnLst>
                  <a:cxn ang="0">
                    <a:pos x="T0" y="T1"/>
                  </a:cxn>
                  <a:cxn ang="0">
                    <a:pos x="T2" y="T3"/>
                  </a:cxn>
                  <a:cxn ang="0">
                    <a:pos x="T4" y="T5"/>
                  </a:cxn>
                  <a:cxn ang="0">
                    <a:pos x="T6" y="T7"/>
                  </a:cxn>
                  <a:cxn ang="0">
                    <a:pos x="T8" y="T9"/>
                  </a:cxn>
                </a:cxnLst>
                <a:rect l="0" t="0" r="r" b="b"/>
                <a:pathLst>
                  <a:path w="557" h="285">
                    <a:moveTo>
                      <a:pt x="0" y="0"/>
                    </a:moveTo>
                    <a:lnTo>
                      <a:pt x="557" y="258"/>
                    </a:lnTo>
                    <a:lnTo>
                      <a:pt x="557" y="285"/>
                    </a:lnTo>
                    <a:lnTo>
                      <a:pt x="0" y="22"/>
                    </a:lnTo>
                    <a:lnTo>
                      <a:pt x="0" y="0"/>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91"/>
              <p:cNvSpPr>
                <a:spLocks/>
              </p:cNvSpPr>
              <p:nvPr/>
            </p:nvSpPr>
            <p:spPr bwMode="auto">
              <a:xfrm>
                <a:off x="4117975" y="1695450"/>
                <a:ext cx="304800" cy="261938"/>
              </a:xfrm>
              <a:custGeom>
                <a:avLst/>
                <a:gdLst>
                  <a:gd name="T0" fmla="*/ 192 w 192"/>
                  <a:gd name="T1" fmla="*/ 165 h 165"/>
                  <a:gd name="T2" fmla="*/ 0 w 192"/>
                  <a:gd name="T3" fmla="*/ 127 h 165"/>
                  <a:gd name="T4" fmla="*/ 0 w 192"/>
                  <a:gd name="T5" fmla="*/ 0 h 165"/>
                  <a:gd name="T6" fmla="*/ 192 w 192"/>
                  <a:gd name="T7" fmla="*/ 33 h 165"/>
                  <a:gd name="T8" fmla="*/ 192 w 192"/>
                  <a:gd name="T9" fmla="*/ 165 h 165"/>
                </a:gdLst>
                <a:ahLst/>
                <a:cxnLst>
                  <a:cxn ang="0">
                    <a:pos x="T0" y="T1"/>
                  </a:cxn>
                  <a:cxn ang="0">
                    <a:pos x="T2" y="T3"/>
                  </a:cxn>
                  <a:cxn ang="0">
                    <a:pos x="T4" y="T5"/>
                  </a:cxn>
                  <a:cxn ang="0">
                    <a:pos x="T6" y="T7"/>
                  </a:cxn>
                  <a:cxn ang="0">
                    <a:pos x="T8" y="T9"/>
                  </a:cxn>
                </a:cxnLst>
                <a:rect l="0" t="0" r="r" b="b"/>
                <a:pathLst>
                  <a:path w="192" h="165">
                    <a:moveTo>
                      <a:pt x="192" y="165"/>
                    </a:moveTo>
                    <a:lnTo>
                      <a:pt x="0" y="127"/>
                    </a:lnTo>
                    <a:lnTo>
                      <a:pt x="0" y="0"/>
                    </a:lnTo>
                    <a:lnTo>
                      <a:pt x="192" y="33"/>
                    </a:lnTo>
                    <a:lnTo>
                      <a:pt x="192" y="165"/>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92"/>
              <p:cNvSpPr>
                <a:spLocks/>
              </p:cNvSpPr>
              <p:nvPr/>
            </p:nvSpPr>
            <p:spPr bwMode="auto">
              <a:xfrm>
                <a:off x="4803775" y="1730375"/>
                <a:ext cx="225425" cy="234950"/>
              </a:xfrm>
              <a:custGeom>
                <a:avLst/>
                <a:gdLst>
                  <a:gd name="T0" fmla="*/ 142 w 142"/>
                  <a:gd name="T1" fmla="*/ 0 h 148"/>
                  <a:gd name="T2" fmla="*/ 0 w 142"/>
                  <a:gd name="T3" fmla="*/ 22 h 148"/>
                  <a:gd name="T4" fmla="*/ 0 w 142"/>
                  <a:gd name="T5" fmla="*/ 148 h 148"/>
                  <a:gd name="T6" fmla="*/ 142 w 142"/>
                  <a:gd name="T7" fmla="*/ 121 h 148"/>
                  <a:gd name="T8" fmla="*/ 142 w 142"/>
                  <a:gd name="T9" fmla="*/ 0 h 148"/>
                </a:gdLst>
                <a:ahLst/>
                <a:cxnLst>
                  <a:cxn ang="0">
                    <a:pos x="T0" y="T1"/>
                  </a:cxn>
                  <a:cxn ang="0">
                    <a:pos x="T2" y="T3"/>
                  </a:cxn>
                  <a:cxn ang="0">
                    <a:pos x="T4" y="T5"/>
                  </a:cxn>
                  <a:cxn ang="0">
                    <a:pos x="T6" y="T7"/>
                  </a:cxn>
                  <a:cxn ang="0">
                    <a:pos x="T8" y="T9"/>
                  </a:cxn>
                </a:cxnLst>
                <a:rect l="0" t="0" r="r" b="b"/>
                <a:pathLst>
                  <a:path w="142" h="148">
                    <a:moveTo>
                      <a:pt x="142" y="0"/>
                    </a:moveTo>
                    <a:lnTo>
                      <a:pt x="0" y="22"/>
                    </a:lnTo>
                    <a:lnTo>
                      <a:pt x="0" y="148"/>
                    </a:lnTo>
                    <a:lnTo>
                      <a:pt x="142" y="121"/>
                    </a:lnTo>
                    <a:lnTo>
                      <a:pt x="142" y="0"/>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93"/>
              <p:cNvSpPr>
                <a:spLocks/>
              </p:cNvSpPr>
              <p:nvPr/>
            </p:nvSpPr>
            <p:spPr bwMode="auto">
              <a:xfrm>
                <a:off x="4352925" y="1120775"/>
                <a:ext cx="260350" cy="34925"/>
              </a:xfrm>
              <a:custGeom>
                <a:avLst/>
                <a:gdLst>
                  <a:gd name="T0" fmla="*/ 164 w 164"/>
                  <a:gd name="T1" fmla="*/ 22 h 22"/>
                  <a:gd name="T2" fmla="*/ 0 w 164"/>
                  <a:gd name="T3" fmla="*/ 16 h 22"/>
                  <a:gd name="T4" fmla="*/ 0 w 164"/>
                  <a:gd name="T5" fmla="*/ 0 h 22"/>
                  <a:gd name="T6" fmla="*/ 164 w 164"/>
                  <a:gd name="T7" fmla="*/ 11 h 22"/>
                  <a:gd name="T8" fmla="*/ 164 w 164"/>
                  <a:gd name="T9" fmla="*/ 22 h 22"/>
                </a:gdLst>
                <a:ahLst/>
                <a:cxnLst>
                  <a:cxn ang="0">
                    <a:pos x="T0" y="T1"/>
                  </a:cxn>
                  <a:cxn ang="0">
                    <a:pos x="T2" y="T3"/>
                  </a:cxn>
                  <a:cxn ang="0">
                    <a:pos x="T4" y="T5"/>
                  </a:cxn>
                  <a:cxn ang="0">
                    <a:pos x="T6" y="T7"/>
                  </a:cxn>
                  <a:cxn ang="0">
                    <a:pos x="T8" y="T9"/>
                  </a:cxn>
                </a:cxnLst>
                <a:rect l="0" t="0" r="r" b="b"/>
                <a:pathLst>
                  <a:path w="164" h="22">
                    <a:moveTo>
                      <a:pt x="164" y="22"/>
                    </a:moveTo>
                    <a:lnTo>
                      <a:pt x="0" y="16"/>
                    </a:lnTo>
                    <a:lnTo>
                      <a:pt x="0" y="0"/>
                    </a:lnTo>
                    <a:lnTo>
                      <a:pt x="164" y="11"/>
                    </a:lnTo>
                    <a:lnTo>
                      <a:pt x="164" y="22"/>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94"/>
              <p:cNvSpPr>
                <a:spLocks/>
              </p:cNvSpPr>
              <p:nvPr/>
            </p:nvSpPr>
            <p:spPr bwMode="auto">
              <a:xfrm>
                <a:off x="4352925" y="1198563"/>
                <a:ext cx="260350" cy="34925"/>
              </a:xfrm>
              <a:custGeom>
                <a:avLst/>
                <a:gdLst>
                  <a:gd name="T0" fmla="*/ 164 w 164"/>
                  <a:gd name="T1" fmla="*/ 22 h 22"/>
                  <a:gd name="T2" fmla="*/ 0 w 164"/>
                  <a:gd name="T3" fmla="*/ 11 h 22"/>
                  <a:gd name="T4" fmla="*/ 0 w 164"/>
                  <a:gd name="T5" fmla="*/ 0 h 22"/>
                  <a:gd name="T6" fmla="*/ 164 w 164"/>
                  <a:gd name="T7" fmla="*/ 11 h 22"/>
                  <a:gd name="T8" fmla="*/ 164 w 164"/>
                  <a:gd name="T9" fmla="*/ 22 h 22"/>
                </a:gdLst>
                <a:ahLst/>
                <a:cxnLst>
                  <a:cxn ang="0">
                    <a:pos x="T0" y="T1"/>
                  </a:cxn>
                  <a:cxn ang="0">
                    <a:pos x="T2" y="T3"/>
                  </a:cxn>
                  <a:cxn ang="0">
                    <a:pos x="T4" y="T5"/>
                  </a:cxn>
                  <a:cxn ang="0">
                    <a:pos x="T6" y="T7"/>
                  </a:cxn>
                  <a:cxn ang="0">
                    <a:pos x="T8" y="T9"/>
                  </a:cxn>
                </a:cxnLst>
                <a:rect l="0" t="0" r="r" b="b"/>
                <a:pathLst>
                  <a:path w="164" h="22">
                    <a:moveTo>
                      <a:pt x="164" y="22"/>
                    </a:moveTo>
                    <a:lnTo>
                      <a:pt x="0" y="11"/>
                    </a:lnTo>
                    <a:lnTo>
                      <a:pt x="0" y="0"/>
                    </a:lnTo>
                    <a:lnTo>
                      <a:pt x="164" y="11"/>
                    </a:lnTo>
                    <a:lnTo>
                      <a:pt x="164" y="22"/>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95"/>
              <p:cNvSpPr>
                <a:spLocks/>
              </p:cNvSpPr>
              <p:nvPr/>
            </p:nvSpPr>
            <p:spPr bwMode="auto">
              <a:xfrm>
                <a:off x="4352925" y="1277938"/>
                <a:ext cx="260350" cy="34925"/>
              </a:xfrm>
              <a:custGeom>
                <a:avLst/>
                <a:gdLst>
                  <a:gd name="T0" fmla="*/ 164 w 164"/>
                  <a:gd name="T1" fmla="*/ 22 h 22"/>
                  <a:gd name="T2" fmla="*/ 0 w 164"/>
                  <a:gd name="T3" fmla="*/ 11 h 22"/>
                  <a:gd name="T4" fmla="*/ 0 w 164"/>
                  <a:gd name="T5" fmla="*/ 0 h 22"/>
                  <a:gd name="T6" fmla="*/ 164 w 164"/>
                  <a:gd name="T7" fmla="*/ 11 h 22"/>
                  <a:gd name="T8" fmla="*/ 164 w 164"/>
                  <a:gd name="T9" fmla="*/ 22 h 22"/>
                </a:gdLst>
                <a:ahLst/>
                <a:cxnLst>
                  <a:cxn ang="0">
                    <a:pos x="T0" y="T1"/>
                  </a:cxn>
                  <a:cxn ang="0">
                    <a:pos x="T2" y="T3"/>
                  </a:cxn>
                  <a:cxn ang="0">
                    <a:pos x="T4" y="T5"/>
                  </a:cxn>
                  <a:cxn ang="0">
                    <a:pos x="T6" y="T7"/>
                  </a:cxn>
                  <a:cxn ang="0">
                    <a:pos x="T8" y="T9"/>
                  </a:cxn>
                </a:cxnLst>
                <a:rect l="0" t="0" r="r" b="b"/>
                <a:pathLst>
                  <a:path w="164" h="22">
                    <a:moveTo>
                      <a:pt x="164" y="22"/>
                    </a:moveTo>
                    <a:lnTo>
                      <a:pt x="0" y="11"/>
                    </a:lnTo>
                    <a:lnTo>
                      <a:pt x="0" y="0"/>
                    </a:lnTo>
                    <a:lnTo>
                      <a:pt x="164" y="11"/>
                    </a:lnTo>
                    <a:lnTo>
                      <a:pt x="164" y="22"/>
                    </a:lnTo>
                    <a:close/>
                  </a:path>
                </a:pathLst>
              </a:custGeom>
              <a:solidFill>
                <a:srgbClr val="ECF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96"/>
              <p:cNvSpPr>
                <a:spLocks/>
              </p:cNvSpPr>
              <p:nvPr/>
            </p:nvSpPr>
            <p:spPr bwMode="auto">
              <a:xfrm>
                <a:off x="4613275" y="1128713"/>
                <a:ext cx="252412" cy="26988"/>
              </a:xfrm>
              <a:custGeom>
                <a:avLst/>
                <a:gdLst>
                  <a:gd name="T0" fmla="*/ 159 w 159"/>
                  <a:gd name="T1" fmla="*/ 11 h 17"/>
                  <a:gd name="T2" fmla="*/ 0 w 159"/>
                  <a:gd name="T3" fmla="*/ 17 h 17"/>
                  <a:gd name="T4" fmla="*/ 0 w 159"/>
                  <a:gd name="T5" fmla="*/ 6 h 17"/>
                  <a:gd name="T6" fmla="*/ 159 w 159"/>
                  <a:gd name="T7" fmla="*/ 0 h 17"/>
                  <a:gd name="T8" fmla="*/ 159 w 159"/>
                  <a:gd name="T9" fmla="*/ 11 h 17"/>
                </a:gdLst>
                <a:ahLst/>
                <a:cxnLst>
                  <a:cxn ang="0">
                    <a:pos x="T0" y="T1"/>
                  </a:cxn>
                  <a:cxn ang="0">
                    <a:pos x="T2" y="T3"/>
                  </a:cxn>
                  <a:cxn ang="0">
                    <a:pos x="T4" y="T5"/>
                  </a:cxn>
                  <a:cxn ang="0">
                    <a:pos x="T6" y="T7"/>
                  </a:cxn>
                  <a:cxn ang="0">
                    <a:pos x="T8" y="T9"/>
                  </a:cxn>
                </a:cxnLst>
                <a:rect l="0" t="0" r="r" b="b"/>
                <a:pathLst>
                  <a:path w="159" h="17">
                    <a:moveTo>
                      <a:pt x="159" y="11"/>
                    </a:moveTo>
                    <a:lnTo>
                      <a:pt x="0" y="17"/>
                    </a:lnTo>
                    <a:lnTo>
                      <a:pt x="0" y="6"/>
                    </a:lnTo>
                    <a:lnTo>
                      <a:pt x="159" y="0"/>
                    </a:lnTo>
                    <a:lnTo>
                      <a:pt x="159" y="1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97"/>
              <p:cNvSpPr>
                <a:spLocks/>
              </p:cNvSpPr>
              <p:nvPr/>
            </p:nvSpPr>
            <p:spPr bwMode="auto">
              <a:xfrm>
                <a:off x="4613275" y="1198563"/>
                <a:ext cx="252412" cy="34925"/>
              </a:xfrm>
              <a:custGeom>
                <a:avLst/>
                <a:gdLst>
                  <a:gd name="T0" fmla="*/ 159 w 159"/>
                  <a:gd name="T1" fmla="*/ 11 h 22"/>
                  <a:gd name="T2" fmla="*/ 0 w 159"/>
                  <a:gd name="T3" fmla="*/ 22 h 22"/>
                  <a:gd name="T4" fmla="*/ 0 w 159"/>
                  <a:gd name="T5" fmla="*/ 11 h 22"/>
                  <a:gd name="T6" fmla="*/ 159 w 159"/>
                  <a:gd name="T7" fmla="*/ 0 h 22"/>
                  <a:gd name="T8" fmla="*/ 159 w 159"/>
                  <a:gd name="T9" fmla="*/ 11 h 22"/>
                </a:gdLst>
                <a:ahLst/>
                <a:cxnLst>
                  <a:cxn ang="0">
                    <a:pos x="T0" y="T1"/>
                  </a:cxn>
                  <a:cxn ang="0">
                    <a:pos x="T2" y="T3"/>
                  </a:cxn>
                  <a:cxn ang="0">
                    <a:pos x="T4" y="T5"/>
                  </a:cxn>
                  <a:cxn ang="0">
                    <a:pos x="T6" y="T7"/>
                  </a:cxn>
                  <a:cxn ang="0">
                    <a:pos x="T8" y="T9"/>
                  </a:cxn>
                </a:cxnLst>
                <a:rect l="0" t="0" r="r" b="b"/>
                <a:pathLst>
                  <a:path w="159" h="22">
                    <a:moveTo>
                      <a:pt x="159" y="11"/>
                    </a:moveTo>
                    <a:lnTo>
                      <a:pt x="0" y="22"/>
                    </a:lnTo>
                    <a:lnTo>
                      <a:pt x="0" y="11"/>
                    </a:lnTo>
                    <a:lnTo>
                      <a:pt x="159" y="0"/>
                    </a:lnTo>
                    <a:lnTo>
                      <a:pt x="159" y="1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98"/>
              <p:cNvSpPr>
                <a:spLocks/>
              </p:cNvSpPr>
              <p:nvPr/>
            </p:nvSpPr>
            <p:spPr bwMode="auto">
              <a:xfrm>
                <a:off x="4613275" y="1277938"/>
                <a:ext cx="252412" cy="34925"/>
              </a:xfrm>
              <a:custGeom>
                <a:avLst/>
                <a:gdLst>
                  <a:gd name="T0" fmla="*/ 159 w 159"/>
                  <a:gd name="T1" fmla="*/ 11 h 22"/>
                  <a:gd name="T2" fmla="*/ 0 w 159"/>
                  <a:gd name="T3" fmla="*/ 22 h 22"/>
                  <a:gd name="T4" fmla="*/ 0 w 159"/>
                  <a:gd name="T5" fmla="*/ 11 h 22"/>
                  <a:gd name="T6" fmla="*/ 159 w 159"/>
                  <a:gd name="T7" fmla="*/ 0 h 22"/>
                  <a:gd name="T8" fmla="*/ 159 w 159"/>
                  <a:gd name="T9" fmla="*/ 11 h 22"/>
                </a:gdLst>
                <a:ahLst/>
                <a:cxnLst>
                  <a:cxn ang="0">
                    <a:pos x="T0" y="T1"/>
                  </a:cxn>
                  <a:cxn ang="0">
                    <a:pos x="T2" y="T3"/>
                  </a:cxn>
                  <a:cxn ang="0">
                    <a:pos x="T4" y="T5"/>
                  </a:cxn>
                  <a:cxn ang="0">
                    <a:pos x="T6" y="T7"/>
                  </a:cxn>
                  <a:cxn ang="0">
                    <a:pos x="T8" y="T9"/>
                  </a:cxn>
                </a:cxnLst>
                <a:rect l="0" t="0" r="r" b="b"/>
                <a:pathLst>
                  <a:path w="159" h="22">
                    <a:moveTo>
                      <a:pt x="159" y="11"/>
                    </a:moveTo>
                    <a:lnTo>
                      <a:pt x="0" y="22"/>
                    </a:lnTo>
                    <a:lnTo>
                      <a:pt x="0" y="11"/>
                    </a:lnTo>
                    <a:lnTo>
                      <a:pt x="159" y="0"/>
                    </a:lnTo>
                    <a:lnTo>
                      <a:pt x="159" y="11"/>
                    </a:lnTo>
                    <a:close/>
                  </a:path>
                </a:pathLst>
              </a:custGeom>
              <a:solidFill>
                <a:srgbClr val="E1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99"/>
              <p:cNvSpPr>
                <a:spLocks/>
              </p:cNvSpPr>
              <p:nvPr/>
            </p:nvSpPr>
            <p:spPr bwMode="auto">
              <a:xfrm>
                <a:off x="3927475" y="3300413"/>
                <a:ext cx="138112" cy="330200"/>
              </a:xfrm>
              <a:custGeom>
                <a:avLst/>
                <a:gdLst>
                  <a:gd name="T0" fmla="*/ 87 w 87"/>
                  <a:gd name="T1" fmla="*/ 38 h 208"/>
                  <a:gd name="T2" fmla="*/ 0 w 87"/>
                  <a:gd name="T3" fmla="*/ 0 h 208"/>
                  <a:gd name="T4" fmla="*/ 0 w 87"/>
                  <a:gd name="T5" fmla="*/ 164 h 208"/>
                  <a:gd name="T6" fmla="*/ 87 w 87"/>
                  <a:gd name="T7" fmla="*/ 208 h 208"/>
                  <a:gd name="T8" fmla="*/ 87 w 87"/>
                  <a:gd name="T9" fmla="*/ 38 h 208"/>
                </a:gdLst>
                <a:ahLst/>
                <a:cxnLst>
                  <a:cxn ang="0">
                    <a:pos x="T0" y="T1"/>
                  </a:cxn>
                  <a:cxn ang="0">
                    <a:pos x="T2" y="T3"/>
                  </a:cxn>
                  <a:cxn ang="0">
                    <a:pos x="T4" y="T5"/>
                  </a:cxn>
                  <a:cxn ang="0">
                    <a:pos x="T6" y="T7"/>
                  </a:cxn>
                  <a:cxn ang="0">
                    <a:pos x="T8" y="T9"/>
                  </a:cxn>
                </a:cxnLst>
                <a:rect l="0" t="0" r="r" b="b"/>
                <a:pathLst>
                  <a:path w="87" h="208">
                    <a:moveTo>
                      <a:pt x="87" y="38"/>
                    </a:moveTo>
                    <a:lnTo>
                      <a:pt x="0" y="0"/>
                    </a:lnTo>
                    <a:lnTo>
                      <a:pt x="0" y="164"/>
                    </a:lnTo>
                    <a:lnTo>
                      <a:pt x="87" y="208"/>
                    </a:lnTo>
                    <a:lnTo>
                      <a:pt x="87" y="38"/>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00"/>
              <p:cNvSpPr>
                <a:spLocks/>
              </p:cNvSpPr>
              <p:nvPr/>
            </p:nvSpPr>
            <p:spPr bwMode="auto">
              <a:xfrm>
                <a:off x="4135438" y="3395663"/>
                <a:ext cx="147637" cy="349250"/>
              </a:xfrm>
              <a:custGeom>
                <a:avLst/>
                <a:gdLst>
                  <a:gd name="T0" fmla="*/ 93 w 93"/>
                  <a:gd name="T1" fmla="*/ 44 h 220"/>
                  <a:gd name="T2" fmla="*/ 0 w 93"/>
                  <a:gd name="T3" fmla="*/ 0 h 220"/>
                  <a:gd name="T4" fmla="*/ 0 w 93"/>
                  <a:gd name="T5" fmla="*/ 170 h 220"/>
                  <a:gd name="T6" fmla="*/ 93 w 93"/>
                  <a:gd name="T7" fmla="*/ 220 h 220"/>
                  <a:gd name="T8" fmla="*/ 93 w 93"/>
                  <a:gd name="T9" fmla="*/ 44 h 220"/>
                </a:gdLst>
                <a:ahLst/>
                <a:cxnLst>
                  <a:cxn ang="0">
                    <a:pos x="T0" y="T1"/>
                  </a:cxn>
                  <a:cxn ang="0">
                    <a:pos x="T2" y="T3"/>
                  </a:cxn>
                  <a:cxn ang="0">
                    <a:pos x="T4" y="T5"/>
                  </a:cxn>
                  <a:cxn ang="0">
                    <a:pos x="T6" y="T7"/>
                  </a:cxn>
                  <a:cxn ang="0">
                    <a:pos x="T8" y="T9"/>
                  </a:cxn>
                </a:cxnLst>
                <a:rect l="0" t="0" r="r" b="b"/>
                <a:pathLst>
                  <a:path w="93" h="220">
                    <a:moveTo>
                      <a:pt x="93" y="44"/>
                    </a:moveTo>
                    <a:lnTo>
                      <a:pt x="0" y="0"/>
                    </a:lnTo>
                    <a:lnTo>
                      <a:pt x="0" y="170"/>
                    </a:lnTo>
                    <a:lnTo>
                      <a:pt x="93" y="220"/>
                    </a:lnTo>
                    <a:lnTo>
                      <a:pt x="93" y="44"/>
                    </a:lnTo>
                    <a:close/>
                  </a:path>
                </a:pathLst>
              </a:custGeom>
              <a:solidFill>
                <a:srgbClr val="8E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2" name="Text Placeholder 2"/>
          <p:cNvSpPr txBox="1">
            <a:spLocks/>
          </p:cNvSpPr>
          <p:nvPr/>
        </p:nvSpPr>
        <p:spPr>
          <a:xfrm>
            <a:off x="8615710" y="2588861"/>
            <a:ext cx="1522447" cy="557851"/>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id-ID" sz="2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Office</a:t>
            </a:r>
            <a:r>
              <a:rPr lang="en-US" sz="2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 2</a:t>
            </a:r>
            <a:endParaRPr lang="id-ID" sz="2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3" name="Text Placeholder 2"/>
          <p:cNvSpPr txBox="1">
            <a:spLocks/>
          </p:cNvSpPr>
          <p:nvPr/>
        </p:nvSpPr>
        <p:spPr>
          <a:xfrm>
            <a:off x="8615709" y="2930517"/>
            <a:ext cx="1522448" cy="345563"/>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4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45</a:t>
            </a:r>
            <a:r>
              <a:rPr lang="id-ID" sz="14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000$</a:t>
            </a:r>
          </a:p>
        </p:txBody>
      </p:sp>
      <p:grpSp>
        <p:nvGrpSpPr>
          <p:cNvPr id="204" name="Group 203"/>
          <p:cNvGrpSpPr/>
          <p:nvPr/>
        </p:nvGrpSpPr>
        <p:grpSpPr>
          <a:xfrm>
            <a:off x="8736819" y="3267769"/>
            <a:ext cx="820532" cy="45719"/>
            <a:chOff x="4886324" y="1149215"/>
            <a:chExt cx="2017487" cy="45720"/>
          </a:xfrm>
          <a:solidFill>
            <a:schemeClr val="bg1">
              <a:lumMod val="75000"/>
            </a:schemeClr>
          </a:solidFill>
        </p:grpSpPr>
        <p:sp>
          <p:nvSpPr>
            <p:cNvPr id="205" name="Rectangle 204"/>
            <p:cNvSpPr/>
            <p:nvPr/>
          </p:nvSpPr>
          <p:spPr>
            <a:xfrm>
              <a:off x="4886325" y="1149216"/>
              <a:ext cx="2017486"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6" name="Rectangle 205"/>
            <p:cNvSpPr/>
            <p:nvPr/>
          </p:nvSpPr>
          <p:spPr>
            <a:xfrm>
              <a:off x="4886324" y="1149215"/>
              <a:ext cx="1039699"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207" name="Rectangle 206"/>
          <p:cNvSpPr/>
          <p:nvPr/>
        </p:nvSpPr>
        <p:spPr>
          <a:xfrm>
            <a:off x="8640533" y="3358517"/>
            <a:ext cx="3033331" cy="1200329"/>
          </a:xfrm>
          <a:prstGeom prst="rect">
            <a:avLst/>
          </a:prstGeom>
        </p:spPr>
        <p:txBody>
          <a:bodyPr wrap="square">
            <a:noAutofit/>
          </a:bodyPr>
          <a:lstStyle/>
          <a:p>
            <a:pPr>
              <a:buClr>
                <a:srgbClr val="E24848"/>
              </a:buClr>
              <a:defRPr/>
            </a:pPr>
            <a:r>
              <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Lorem ipsum dolor sit amet, consectetur adipiscing elit. </a:t>
            </a:r>
          </a:p>
        </p:txBody>
      </p:sp>
    </p:spTree>
    <p:extLst>
      <p:ext uri="{BB962C8B-B14F-4D97-AF65-F5344CB8AC3E}">
        <p14:creationId xmlns:p14="http://schemas.microsoft.com/office/powerpoint/2010/main" val="111785785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p:cNvSpPr/>
          <p:nvPr/>
        </p:nvSpPr>
        <p:spPr>
          <a:xfrm rot="17133583" flipH="1">
            <a:off x="602753" y="2942179"/>
            <a:ext cx="8905873" cy="995308"/>
          </a:xfrm>
          <a:prstGeom prst="ellipse">
            <a:avLst/>
          </a:prstGeom>
          <a:solidFill>
            <a:schemeClr val="tx1">
              <a:lumMod val="75000"/>
              <a:lumOff val="25000"/>
            </a:schemeClr>
          </a:solidFill>
          <a:ln>
            <a:noFill/>
          </a:ln>
          <a:effectLst>
            <a:softEdge rad="419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3">
            <a:extLst>
              <a:ext uri="{FF2B5EF4-FFF2-40B4-BE49-F238E27FC236}">
                <a16:creationId xmlns:a16="http://schemas.microsoft.com/office/drawing/2014/main" id="{AAB922E6-32B0-4B7C-B708-0B56517977F7}"/>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32378" r="8956"/>
          <a:stretch/>
        </p:blipFill>
        <p:spPr>
          <a:xfrm>
            <a:off x="1" y="0"/>
            <a:ext cx="6036503" cy="6858000"/>
          </a:xfrm>
          <a:solidFill>
            <a:schemeClr val="tx1">
              <a:lumMod val="75000"/>
              <a:lumOff val="25000"/>
            </a:schemeClr>
          </a:solidFill>
        </p:spPr>
      </p:pic>
      <p:sp>
        <p:nvSpPr>
          <p:cNvPr id="6" name="Title 11"/>
          <p:cNvSpPr txBox="1">
            <a:spLocks/>
          </p:cNvSpPr>
          <p:nvPr/>
        </p:nvSpPr>
        <p:spPr>
          <a:xfrm>
            <a:off x="214339" y="6182667"/>
            <a:ext cx="1686851" cy="37574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0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nsert Your Creative Idea </a:t>
            </a:r>
          </a:p>
        </p:txBody>
      </p:sp>
      <p:sp>
        <p:nvSpPr>
          <p:cNvPr id="7" name="Title 11"/>
          <p:cNvSpPr txBox="1">
            <a:spLocks/>
          </p:cNvSpPr>
          <p:nvPr/>
        </p:nvSpPr>
        <p:spPr>
          <a:xfrm>
            <a:off x="214341" y="5788427"/>
            <a:ext cx="2061988" cy="646331"/>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spc="-151" dirty="0">
                <a:solidFill>
                  <a:schemeClr val="bg1"/>
                </a:solidFill>
                <a:latin typeface="Arial" panose="020B0604020202020204" pitchFamily="34" charset="0"/>
                <a:ea typeface="Roboto Light" panose="02000000000000000000" pitchFamily="2" charset="0"/>
                <a:cs typeface="Open Sans Light" panose="020B0306030504020204" pitchFamily="34" charset="0"/>
              </a:rPr>
              <a:t>Meet CEO</a:t>
            </a:r>
          </a:p>
        </p:txBody>
      </p:sp>
      <p:sp>
        <p:nvSpPr>
          <p:cNvPr id="2" name="Slide Number Placeholder 1"/>
          <p:cNvSpPr>
            <a:spLocks noGrp="1"/>
          </p:cNvSpPr>
          <p:nvPr>
            <p:ph type="sldNum" sz="quarter" idx="12"/>
          </p:nvPr>
        </p:nvSpPr>
        <p:spPr/>
        <p:txBody>
          <a:bodyPr/>
          <a:lstStyle/>
          <a:p>
            <a:fld id="{32ECD629-4DA5-4EAE-B174-69948CAAE2CE}" type="slidenum">
              <a:rPr lang="en-US" smtClean="0"/>
              <a:pPr/>
              <a:t>6</a:t>
            </a:fld>
            <a:endParaRPr lang="en-US" dirty="0"/>
          </a:p>
        </p:txBody>
      </p:sp>
      <p:grpSp>
        <p:nvGrpSpPr>
          <p:cNvPr id="22" name="Group 21"/>
          <p:cNvGrpSpPr/>
          <p:nvPr/>
        </p:nvGrpSpPr>
        <p:grpSpPr>
          <a:xfrm>
            <a:off x="6395217" y="674488"/>
            <a:ext cx="5158155" cy="2271060"/>
            <a:chOff x="6477279" y="3095506"/>
            <a:chExt cx="5158154" cy="2271060"/>
          </a:xfrm>
        </p:grpSpPr>
        <p:cxnSp>
          <p:nvCxnSpPr>
            <p:cNvPr id="15" name="Straight Connector 14"/>
            <p:cNvCxnSpPr/>
            <p:nvPr/>
          </p:nvCxnSpPr>
          <p:spPr>
            <a:xfrm>
              <a:off x="6607838" y="3773658"/>
              <a:ext cx="2973824"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477279" y="3095506"/>
              <a:ext cx="2983244" cy="769441"/>
            </a:xfrm>
            <a:prstGeom prst="rect">
              <a:avLst/>
            </a:prstGeom>
          </p:spPr>
          <p:txBody>
            <a:bodyPr vert="horz" wrap="square" lIns="91440" tIns="45720" rIns="91440" bIns="45720" rtlCol="0" anchor="ctr">
              <a:noAutofit/>
            </a:bodyPr>
            <a:lstStyle>
              <a:defPPr>
                <a:defRPr lang="en-US"/>
              </a:defPPr>
              <a:lvl1pPr defTabSz="914400">
                <a:lnSpc>
                  <a:spcPct val="90000"/>
                </a:lnSpc>
                <a:spcBef>
                  <a:spcPct val="0"/>
                </a:spcBef>
                <a:buNone/>
                <a:defRPr sz="4000" b="1" spc="-300">
                  <a:solidFill>
                    <a:schemeClr val="bg1"/>
                  </a:solidFill>
                  <a:latin typeface="Arial" panose="020B0604020202020204" pitchFamily="34" charset="0"/>
                  <a:ea typeface="Roboto Light" panose="02000000000000000000" pitchFamily="2" charset="0"/>
                  <a:cs typeface="Open Sans Light" panose="020B0306030504020204" pitchFamily="34" charset="0"/>
                </a:defRPr>
              </a:lvl1pPr>
            </a:lstStyle>
            <a:p>
              <a:r>
                <a:rPr lang="id-ID" dirty="0">
                  <a:solidFill>
                    <a:schemeClr val="tx1">
                      <a:lumMod val="90000"/>
                      <a:lumOff val="10000"/>
                    </a:schemeClr>
                  </a:solidFill>
                </a:rPr>
                <a:t>MATUY DEE</a:t>
              </a:r>
            </a:p>
          </p:txBody>
        </p:sp>
        <p:sp>
          <p:nvSpPr>
            <p:cNvPr id="17" name="Rectangle 16"/>
            <p:cNvSpPr/>
            <p:nvPr/>
          </p:nvSpPr>
          <p:spPr>
            <a:xfrm>
              <a:off x="6477280" y="4166237"/>
              <a:ext cx="5158153" cy="1200329"/>
            </a:xfrm>
            <a:prstGeom prst="rect">
              <a:avLst/>
            </a:prstGeom>
          </p:spPr>
          <p:txBody>
            <a:bodyPr wrap="square">
              <a:spAutoFit/>
            </a:bodyPr>
            <a:lstStyle/>
            <a:p>
              <a:pPr algn="just"/>
              <a:r>
                <a:rPr lang="en-US" sz="1200" noProof="1">
                  <a:solidFill>
                    <a:schemeClr val="tx1">
                      <a:lumMod val="75000"/>
                      <a:lumOff val="25000"/>
                    </a:schemeClr>
                  </a:solidFill>
                  <a:latin typeface="+mj-lt"/>
                  <a:ea typeface="Roboto Light" panose="02000000000000000000" pitchFamily="2"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Nunc elementum fringilla nisl, a ornare arcu condimentum a. Nulla euismod congue arcu quis feugiat. Phasellus porttitor felis mauris, sed suscipit quam egestas nec. </a:t>
              </a:r>
            </a:p>
          </p:txBody>
        </p:sp>
        <p:sp>
          <p:nvSpPr>
            <p:cNvPr id="18" name="TextBox 17"/>
            <p:cNvSpPr txBox="1"/>
            <p:nvPr/>
          </p:nvSpPr>
          <p:spPr>
            <a:xfrm>
              <a:off x="6489977" y="3826164"/>
              <a:ext cx="3159091" cy="324961"/>
            </a:xfrm>
            <a:prstGeom prst="rect">
              <a:avLst/>
            </a:prstGeom>
          </p:spPr>
          <p:txBody>
            <a:bodyPr vert="horz" wrap="square" lIns="91440" tIns="45720" rIns="91440" bIns="45720" rtlCol="0" anchor="ctr">
              <a:noAutofit/>
            </a:bodyPr>
            <a:lstStyle>
              <a:defPPr>
                <a:defRPr lang="en-US"/>
              </a:defPPr>
              <a:lvl1pPr defTabSz="914400">
                <a:lnSpc>
                  <a:spcPct val="90000"/>
                </a:lnSpc>
                <a:spcBef>
                  <a:spcPct val="0"/>
                </a:spcBef>
                <a:buNone/>
                <a:defRPr sz="4000" b="1" spc="-300">
                  <a:solidFill>
                    <a:schemeClr val="bg1"/>
                  </a:solidFill>
                  <a:latin typeface="Arial" panose="020B0604020202020204" pitchFamily="34" charset="0"/>
                  <a:ea typeface="Roboto Light" panose="02000000000000000000" pitchFamily="2" charset="0"/>
                  <a:cs typeface="Open Sans Light" panose="020B0306030504020204" pitchFamily="34" charset="0"/>
                </a:defRPr>
              </a:lvl1pPr>
            </a:lstStyle>
            <a:p>
              <a:r>
                <a:rPr lang="id-ID" sz="1400" b="0" spc="3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ABOUT </a:t>
              </a:r>
              <a:r>
                <a:rPr lang="en-US" sz="1400" b="0" spc="3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EO</a:t>
              </a:r>
              <a:endParaRPr lang="id-ID" sz="1400" b="0" spc="3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oup 34"/>
          <p:cNvGrpSpPr/>
          <p:nvPr/>
        </p:nvGrpSpPr>
        <p:grpSpPr>
          <a:xfrm>
            <a:off x="6543960" y="3327200"/>
            <a:ext cx="700216" cy="168909"/>
            <a:chOff x="1759583" y="5803266"/>
            <a:chExt cx="884812" cy="213438"/>
          </a:xfrm>
          <a:solidFill>
            <a:schemeClr val="tx1">
              <a:lumMod val="90000"/>
              <a:lumOff val="10000"/>
            </a:schemeClr>
          </a:solidFill>
        </p:grpSpPr>
        <p:sp>
          <p:nvSpPr>
            <p:cNvPr id="36" name="Freeform 9"/>
            <p:cNvSpPr>
              <a:spLocks noEditPoints="1"/>
            </p:cNvSpPr>
            <p:nvPr/>
          </p:nvSpPr>
          <p:spPr bwMode="auto">
            <a:xfrm>
              <a:off x="1759583" y="5803266"/>
              <a:ext cx="209114" cy="209358"/>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sz="1600">
                <a:solidFill>
                  <a:schemeClr val="tx2">
                    <a:lumMod val="75000"/>
                  </a:schemeClr>
                </a:solidFill>
                <a:latin typeface="+mj-lt"/>
                <a:ea typeface="Roboto Light" panose="02000000000000000000" pitchFamily="2" charset="0"/>
              </a:endParaRPr>
            </a:p>
          </p:txBody>
        </p:sp>
        <p:sp>
          <p:nvSpPr>
            <p:cNvPr id="37" name="Freeform 13"/>
            <p:cNvSpPr>
              <a:spLocks/>
            </p:cNvSpPr>
            <p:nvPr/>
          </p:nvSpPr>
          <p:spPr bwMode="auto">
            <a:xfrm>
              <a:off x="2065095" y="5811365"/>
              <a:ext cx="201412" cy="201646"/>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grpFill/>
            <a:ln>
              <a:noFill/>
            </a:ln>
          </p:spPr>
          <p:txBody>
            <a:bodyPr vert="horz" wrap="square" lIns="91440" tIns="45720" rIns="91440" bIns="45720" numCol="1" anchor="t" anchorCtr="0" compatLnSpc="1">
              <a:prstTxWarp prst="textNoShape">
                <a:avLst/>
              </a:prstTxWarp>
            </a:bodyPr>
            <a:lstStyle/>
            <a:p>
              <a:endParaRPr lang="id-ID" sz="1600">
                <a:solidFill>
                  <a:schemeClr val="tx2">
                    <a:lumMod val="75000"/>
                  </a:schemeClr>
                </a:solidFill>
                <a:latin typeface="+mj-lt"/>
                <a:ea typeface="Roboto Light" panose="02000000000000000000" pitchFamily="2" charset="0"/>
              </a:endParaRPr>
            </a:p>
          </p:txBody>
        </p:sp>
        <p:sp>
          <p:nvSpPr>
            <p:cNvPr id="38" name="Freeform 16"/>
            <p:cNvSpPr>
              <a:spLocks/>
            </p:cNvSpPr>
            <p:nvPr/>
          </p:nvSpPr>
          <p:spPr bwMode="auto">
            <a:xfrm>
              <a:off x="2391930" y="5811539"/>
              <a:ext cx="252465" cy="20516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solidFill>
                  <a:schemeClr val="tx2">
                    <a:lumMod val="75000"/>
                  </a:schemeClr>
                </a:solidFill>
                <a:latin typeface="+mj-lt"/>
                <a:ea typeface="Roboto Light" panose="02000000000000000000" pitchFamily="2" charset="0"/>
              </a:endParaRPr>
            </a:p>
          </p:txBody>
        </p:sp>
      </p:grpSp>
      <p:sp>
        <p:nvSpPr>
          <p:cNvPr id="40" name="TextBox 39"/>
          <p:cNvSpPr txBox="1"/>
          <p:nvPr/>
        </p:nvSpPr>
        <p:spPr>
          <a:xfrm>
            <a:off x="6598049" y="5346651"/>
            <a:ext cx="913095" cy="308869"/>
          </a:xfrm>
          <a:prstGeom prst="rect">
            <a:avLst/>
          </a:prstGeom>
        </p:spPr>
        <p:txBody>
          <a:bodyPr vert="horz" lIns="91440" tIns="45720" rIns="91440" bIns="45720" rtlCol="0" anchor="ctr">
            <a:noAutofit/>
          </a:bodyPr>
          <a:lstStyle>
            <a:defPPr>
              <a:defRPr lang="en-US"/>
            </a:defPPr>
            <a:lvl1pPr defTabSz="914082">
              <a:spcBef>
                <a:spcPct val="0"/>
              </a:spcBef>
              <a:defRPr sz="4400">
                <a:solidFill>
                  <a:schemeClr val="tx1">
                    <a:lumMod val="65000"/>
                    <a:lumOff val="35000"/>
                  </a:schemeClr>
                </a:solidFill>
                <a:latin typeface="Bebas Neue" panose="020B0606020202050201" pitchFamily="34" charset="0"/>
                <a:ea typeface="Roboto Light" panose="02000000000000000000" pitchFamily="2" charset="0"/>
                <a:cs typeface="Lato Light" panose="020F0402020204030203" pitchFamily="34" charset="0"/>
              </a:defRPr>
            </a:lvl1pPr>
          </a:lstStyle>
          <a:p>
            <a:pPr algn="ctr"/>
            <a:r>
              <a:rPr lang="id-ID" sz="11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REATIVE</a:t>
            </a:r>
          </a:p>
        </p:txBody>
      </p:sp>
      <p:graphicFrame>
        <p:nvGraphicFramePr>
          <p:cNvPr id="41" name="Chart 40"/>
          <p:cNvGraphicFramePr/>
          <p:nvPr/>
        </p:nvGraphicFramePr>
        <p:xfrm>
          <a:off x="6220591" y="3704667"/>
          <a:ext cx="1614456" cy="16666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2" name="Chart 41"/>
          <p:cNvGraphicFramePr/>
          <p:nvPr/>
        </p:nvGraphicFramePr>
        <p:xfrm>
          <a:off x="8079753" y="3704667"/>
          <a:ext cx="1614456" cy="16666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Chart 42"/>
          <p:cNvGraphicFramePr/>
          <p:nvPr/>
        </p:nvGraphicFramePr>
        <p:xfrm>
          <a:off x="9938915" y="3704667"/>
          <a:ext cx="1614456" cy="1666629"/>
        </p:xfrm>
        <a:graphic>
          <a:graphicData uri="http://schemas.openxmlformats.org/drawingml/2006/chart">
            <c:chart xmlns:c="http://schemas.openxmlformats.org/drawingml/2006/chart" xmlns:r="http://schemas.openxmlformats.org/officeDocument/2006/relationships" r:id="rId5"/>
          </a:graphicData>
        </a:graphic>
      </p:graphicFrame>
      <p:sp>
        <p:nvSpPr>
          <p:cNvPr id="44" name="TextBox 43"/>
          <p:cNvSpPr txBox="1"/>
          <p:nvPr/>
        </p:nvSpPr>
        <p:spPr>
          <a:xfrm>
            <a:off x="8444658" y="5346651"/>
            <a:ext cx="913095" cy="308869"/>
          </a:xfrm>
          <a:prstGeom prst="rect">
            <a:avLst/>
          </a:prstGeom>
        </p:spPr>
        <p:txBody>
          <a:bodyPr vert="horz" lIns="91440" tIns="45720" rIns="91440" bIns="45720" rtlCol="0" anchor="ctr">
            <a:noAutofit/>
          </a:bodyPr>
          <a:lstStyle>
            <a:defPPr>
              <a:defRPr lang="en-US"/>
            </a:defPPr>
            <a:lvl1pPr defTabSz="914082">
              <a:spcBef>
                <a:spcPct val="0"/>
              </a:spcBef>
              <a:defRPr sz="4400">
                <a:solidFill>
                  <a:schemeClr val="tx1">
                    <a:lumMod val="65000"/>
                    <a:lumOff val="35000"/>
                  </a:schemeClr>
                </a:solidFill>
                <a:latin typeface="Bebas Neue" panose="020B0606020202050201" pitchFamily="34" charset="0"/>
                <a:ea typeface="Roboto Light" panose="02000000000000000000" pitchFamily="2" charset="0"/>
                <a:cs typeface="Lato Light" panose="020F0402020204030203" pitchFamily="34" charset="0"/>
              </a:defRPr>
            </a:lvl1pPr>
          </a:lstStyle>
          <a:p>
            <a:pPr algn="ctr"/>
            <a:r>
              <a:rPr lang="id-ID" sz="11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ENJOYING</a:t>
            </a:r>
          </a:p>
        </p:txBody>
      </p:sp>
      <p:sp>
        <p:nvSpPr>
          <p:cNvPr id="45" name="TextBox 44"/>
          <p:cNvSpPr txBox="1"/>
          <p:nvPr/>
        </p:nvSpPr>
        <p:spPr>
          <a:xfrm>
            <a:off x="10346003" y="5346651"/>
            <a:ext cx="913095" cy="308869"/>
          </a:xfrm>
          <a:prstGeom prst="rect">
            <a:avLst/>
          </a:prstGeom>
        </p:spPr>
        <p:txBody>
          <a:bodyPr vert="horz" lIns="91440" tIns="45720" rIns="91440" bIns="45720" rtlCol="0" anchor="ctr">
            <a:noAutofit/>
          </a:bodyPr>
          <a:lstStyle>
            <a:defPPr>
              <a:defRPr lang="en-US"/>
            </a:defPPr>
            <a:lvl1pPr defTabSz="914082">
              <a:spcBef>
                <a:spcPct val="0"/>
              </a:spcBef>
              <a:defRPr sz="4400">
                <a:solidFill>
                  <a:schemeClr val="tx1">
                    <a:lumMod val="65000"/>
                    <a:lumOff val="35000"/>
                  </a:schemeClr>
                </a:solidFill>
                <a:latin typeface="Bebas Neue" panose="020B0606020202050201" pitchFamily="34" charset="0"/>
                <a:ea typeface="Roboto Light" panose="02000000000000000000" pitchFamily="2" charset="0"/>
                <a:cs typeface="Lato Light" panose="020F0402020204030203" pitchFamily="34" charset="0"/>
              </a:defRPr>
            </a:lvl1pPr>
          </a:lstStyle>
          <a:p>
            <a:pPr algn="ctr"/>
            <a:r>
              <a:rPr lang="en-US" sz="11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PRO</a:t>
            </a:r>
            <a:endParaRPr lang="id-ID" sz="11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0" name="Group 29"/>
          <p:cNvGrpSpPr/>
          <p:nvPr/>
        </p:nvGrpSpPr>
        <p:grpSpPr>
          <a:xfrm>
            <a:off x="10604200" y="4247162"/>
            <a:ext cx="283885" cy="283885"/>
            <a:chOff x="8085931" y="1818084"/>
            <a:chExt cx="457200" cy="457200"/>
          </a:xfrm>
          <a:solidFill>
            <a:schemeClr val="tx1">
              <a:lumMod val="75000"/>
              <a:lumOff val="25000"/>
            </a:schemeClr>
          </a:solidFill>
        </p:grpSpPr>
        <p:sp>
          <p:nvSpPr>
            <p:cNvPr id="31" name="Freeform 82"/>
            <p:cNvSpPr>
              <a:spLocks noEditPoints="1"/>
            </p:cNvSpPr>
            <p:nvPr/>
          </p:nvSpPr>
          <p:spPr bwMode="auto">
            <a:xfrm>
              <a:off x="8085931" y="1818084"/>
              <a:ext cx="457200" cy="457200"/>
            </a:xfrm>
            <a:custGeom>
              <a:avLst/>
              <a:gdLst>
                <a:gd name="T0" fmla="*/ 1058 w 1152"/>
                <a:gd name="T1" fmla="*/ 563 h 1152"/>
                <a:gd name="T2" fmla="*/ 929 w 1152"/>
                <a:gd name="T3" fmla="*/ 577 h 1152"/>
                <a:gd name="T4" fmla="*/ 921 w 1152"/>
                <a:gd name="T5" fmla="*/ 603 h 1152"/>
                <a:gd name="T6" fmla="*/ 1032 w 1152"/>
                <a:gd name="T7" fmla="*/ 616 h 1152"/>
                <a:gd name="T8" fmla="*/ 1063 w 1152"/>
                <a:gd name="T9" fmla="*/ 658 h 1152"/>
                <a:gd name="T10" fmla="*/ 1030 w 1152"/>
                <a:gd name="T11" fmla="*/ 744 h 1152"/>
                <a:gd name="T12" fmla="*/ 890 w 1152"/>
                <a:gd name="T13" fmla="*/ 759 h 1152"/>
                <a:gd name="T14" fmla="*/ 887 w 1152"/>
                <a:gd name="T15" fmla="*/ 787 h 1152"/>
                <a:gd name="T16" fmla="*/ 1005 w 1152"/>
                <a:gd name="T17" fmla="*/ 800 h 1152"/>
                <a:gd name="T18" fmla="*/ 1020 w 1152"/>
                <a:gd name="T19" fmla="*/ 855 h 1152"/>
                <a:gd name="T20" fmla="*/ 983 w 1152"/>
                <a:gd name="T21" fmla="*/ 923 h 1152"/>
                <a:gd name="T22" fmla="*/ 857 w 1152"/>
                <a:gd name="T23" fmla="*/ 937 h 1152"/>
                <a:gd name="T24" fmla="*/ 849 w 1152"/>
                <a:gd name="T25" fmla="*/ 964 h 1152"/>
                <a:gd name="T26" fmla="*/ 939 w 1152"/>
                <a:gd name="T27" fmla="*/ 975 h 1152"/>
                <a:gd name="T28" fmla="*/ 957 w 1152"/>
                <a:gd name="T29" fmla="*/ 1022 h 1152"/>
                <a:gd name="T30" fmla="*/ 895 w 1152"/>
                <a:gd name="T31" fmla="*/ 1080 h 1152"/>
                <a:gd name="T32" fmla="*/ 491 w 1152"/>
                <a:gd name="T33" fmla="*/ 1058 h 1152"/>
                <a:gd name="T34" fmla="*/ 319 w 1152"/>
                <a:gd name="T35" fmla="*/ 1017 h 1152"/>
                <a:gd name="T36" fmla="*/ 288 w 1152"/>
                <a:gd name="T37" fmla="*/ 488 h 1152"/>
                <a:gd name="T38" fmla="*/ 320 w 1152"/>
                <a:gd name="T39" fmla="*/ 449 h 1152"/>
                <a:gd name="T40" fmla="*/ 427 w 1152"/>
                <a:gd name="T41" fmla="*/ 383 h 1152"/>
                <a:gd name="T42" fmla="*/ 522 w 1152"/>
                <a:gd name="T43" fmla="*/ 228 h 1152"/>
                <a:gd name="T44" fmla="*/ 549 w 1152"/>
                <a:gd name="T45" fmla="*/ 84 h 1152"/>
                <a:gd name="T46" fmla="*/ 617 w 1152"/>
                <a:gd name="T47" fmla="*/ 93 h 1152"/>
                <a:gd name="T48" fmla="*/ 679 w 1152"/>
                <a:gd name="T49" fmla="*/ 208 h 1152"/>
                <a:gd name="T50" fmla="*/ 658 w 1152"/>
                <a:gd name="T51" fmla="*/ 401 h 1152"/>
                <a:gd name="T52" fmla="*/ 1037 w 1152"/>
                <a:gd name="T53" fmla="*/ 446 h 1152"/>
                <a:gd name="T54" fmla="*/ 1079 w 1152"/>
                <a:gd name="T55" fmla="*/ 495 h 1152"/>
                <a:gd name="T56" fmla="*/ 236 w 1152"/>
                <a:gd name="T57" fmla="*/ 1073 h 1152"/>
                <a:gd name="T58" fmla="*/ 78 w 1152"/>
                <a:gd name="T59" fmla="*/ 1063 h 1152"/>
                <a:gd name="T60" fmla="*/ 88 w 1152"/>
                <a:gd name="T61" fmla="*/ 438 h 1152"/>
                <a:gd name="T62" fmla="*/ 246 w 1152"/>
                <a:gd name="T63" fmla="*/ 448 h 1152"/>
                <a:gd name="T64" fmla="*/ 938 w 1152"/>
                <a:gd name="T65" fmla="*/ 366 h 1152"/>
                <a:gd name="T66" fmla="*/ 752 w 1152"/>
                <a:gd name="T67" fmla="*/ 219 h 1152"/>
                <a:gd name="T68" fmla="*/ 669 w 1152"/>
                <a:gd name="T69" fmla="*/ 43 h 1152"/>
                <a:gd name="T70" fmla="*/ 565 w 1152"/>
                <a:gd name="T71" fmla="*/ 1 h 1152"/>
                <a:gd name="T72" fmla="*/ 487 w 1152"/>
                <a:gd name="T73" fmla="*/ 47 h 1152"/>
                <a:gd name="T74" fmla="*/ 465 w 1152"/>
                <a:gd name="T75" fmla="*/ 153 h 1152"/>
                <a:gd name="T76" fmla="*/ 397 w 1152"/>
                <a:gd name="T77" fmla="*/ 311 h 1152"/>
                <a:gd name="T78" fmla="*/ 292 w 1152"/>
                <a:gd name="T79" fmla="*/ 384 h 1152"/>
                <a:gd name="T80" fmla="*/ 226 w 1152"/>
                <a:gd name="T81" fmla="*/ 360 h 1152"/>
                <a:gd name="T82" fmla="*/ 39 w 1152"/>
                <a:gd name="T83" fmla="*/ 384 h 1152"/>
                <a:gd name="T84" fmla="*/ 0 w 1152"/>
                <a:gd name="T85" fmla="*/ 468 h 1152"/>
                <a:gd name="T86" fmla="*/ 32 w 1152"/>
                <a:gd name="T87" fmla="*/ 1121 h 1152"/>
                <a:gd name="T88" fmla="*/ 216 w 1152"/>
                <a:gd name="T89" fmla="*/ 1152 h 1152"/>
                <a:gd name="T90" fmla="*/ 286 w 1152"/>
                <a:gd name="T91" fmla="*/ 1125 h 1152"/>
                <a:gd name="T92" fmla="*/ 325 w 1152"/>
                <a:gd name="T93" fmla="*/ 1093 h 1152"/>
                <a:gd name="T94" fmla="*/ 578 w 1152"/>
                <a:gd name="T95" fmla="*/ 1146 h 1152"/>
                <a:gd name="T96" fmla="*/ 934 w 1152"/>
                <a:gd name="T97" fmla="*/ 1146 h 1152"/>
                <a:gd name="T98" fmla="*/ 1001 w 1152"/>
                <a:gd name="T99" fmla="*/ 1099 h 1152"/>
                <a:gd name="T100" fmla="*/ 1031 w 1152"/>
                <a:gd name="T101" fmla="*/ 1006 h 1152"/>
                <a:gd name="T102" fmla="*/ 1068 w 1152"/>
                <a:gd name="T103" fmla="*/ 934 h 1152"/>
                <a:gd name="T104" fmla="*/ 1093 w 1152"/>
                <a:gd name="T105" fmla="*/ 819 h 1152"/>
                <a:gd name="T106" fmla="*/ 1127 w 1152"/>
                <a:gd name="T107" fmla="*/ 722 h 1152"/>
                <a:gd name="T108" fmla="*/ 1125 w 1152"/>
                <a:gd name="T109" fmla="*/ 614 h 1152"/>
                <a:gd name="T110" fmla="*/ 1151 w 1152"/>
                <a:gd name="T111" fmla="*/ 526 h 1152"/>
                <a:gd name="T112" fmla="*/ 1139 w 1152"/>
                <a:gd name="T113" fmla="*/ 447 h 1152"/>
                <a:gd name="T114" fmla="*/ 1063 w 1152"/>
                <a:gd name="T115" fmla="*/ 381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52" h="1152">
                  <a:moveTo>
                    <a:pt x="1079" y="523"/>
                  </a:moveTo>
                  <a:lnTo>
                    <a:pt x="1078" y="531"/>
                  </a:lnTo>
                  <a:lnTo>
                    <a:pt x="1076" y="539"/>
                  </a:lnTo>
                  <a:lnTo>
                    <a:pt x="1075" y="543"/>
                  </a:lnTo>
                  <a:lnTo>
                    <a:pt x="1073" y="547"/>
                  </a:lnTo>
                  <a:lnTo>
                    <a:pt x="1071" y="552"/>
                  </a:lnTo>
                  <a:lnTo>
                    <a:pt x="1066" y="556"/>
                  </a:lnTo>
                  <a:lnTo>
                    <a:pt x="1063" y="560"/>
                  </a:lnTo>
                  <a:lnTo>
                    <a:pt x="1058" y="563"/>
                  </a:lnTo>
                  <a:lnTo>
                    <a:pt x="1052" y="567"/>
                  </a:lnTo>
                  <a:lnTo>
                    <a:pt x="1046" y="570"/>
                  </a:lnTo>
                  <a:lnTo>
                    <a:pt x="1038" y="572"/>
                  </a:lnTo>
                  <a:lnTo>
                    <a:pt x="1029" y="574"/>
                  </a:lnTo>
                  <a:lnTo>
                    <a:pt x="1019" y="575"/>
                  </a:lnTo>
                  <a:lnTo>
                    <a:pt x="1008" y="576"/>
                  </a:lnTo>
                  <a:lnTo>
                    <a:pt x="936" y="576"/>
                  </a:lnTo>
                  <a:lnTo>
                    <a:pt x="933" y="576"/>
                  </a:lnTo>
                  <a:lnTo>
                    <a:pt x="929" y="577"/>
                  </a:lnTo>
                  <a:lnTo>
                    <a:pt x="926" y="579"/>
                  </a:lnTo>
                  <a:lnTo>
                    <a:pt x="923" y="581"/>
                  </a:lnTo>
                  <a:lnTo>
                    <a:pt x="921" y="584"/>
                  </a:lnTo>
                  <a:lnTo>
                    <a:pt x="920" y="587"/>
                  </a:lnTo>
                  <a:lnTo>
                    <a:pt x="919" y="590"/>
                  </a:lnTo>
                  <a:lnTo>
                    <a:pt x="919" y="594"/>
                  </a:lnTo>
                  <a:lnTo>
                    <a:pt x="919" y="598"/>
                  </a:lnTo>
                  <a:lnTo>
                    <a:pt x="920" y="601"/>
                  </a:lnTo>
                  <a:lnTo>
                    <a:pt x="921" y="603"/>
                  </a:lnTo>
                  <a:lnTo>
                    <a:pt x="923" y="607"/>
                  </a:lnTo>
                  <a:lnTo>
                    <a:pt x="926" y="609"/>
                  </a:lnTo>
                  <a:lnTo>
                    <a:pt x="929" y="611"/>
                  </a:lnTo>
                  <a:lnTo>
                    <a:pt x="933" y="612"/>
                  </a:lnTo>
                  <a:lnTo>
                    <a:pt x="936" y="612"/>
                  </a:lnTo>
                  <a:lnTo>
                    <a:pt x="1006" y="612"/>
                  </a:lnTo>
                  <a:lnTo>
                    <a:pt x="1016" y="612"/>
                  </a:lnTo>
                  <a:lnTo>
                    <a:pt x="1024" y="614"/>
                  </a:lnTo>
                  <a:lnTo>
                    <a:pt x="1032" y="616"/>
                  </a:lnTo>
                  <a:lnTo>
                    <a:pt x="1038" y="620"/>
                  </a:lnTo>
                  <a:lnTo>
                    <a:pt x="1044" y="623"/>
                  </a:lnTo>
                  <a:lnTo>
                    <a:pt x="1048" y="627"/>
                  </a:lnTo>
                  <a:lnTo>
                    <a:pt x="1052" y="631"/>
                  </a:lnTo>
                  <a:lnTo>
                    <a:pt x="1056" y="637"/>
                  </a:lnTo>
                  <a:lnTo>
                    <a:pt x="1059" y="642"/>
                  </a:lnTo>
                  <a:lnTo>
                    <a:pt x="1061" y="648"/>
                  </a:lnTo>
                  <a:lnTo>
                    <a:pt x="1062" y="653"/>
                  </a:lnTo>
                  <a:lnTo>
                    <a:pt x="1063" y="658"/>
                  </a:lnTo>
                  <a:lnTo>
                    <a:pt x="1064" y="669"/>
                  </a:lnTo>
                  <a:lnTo>
                    <a:pt x="1063" y="678"/>
                  </a:lnTo>
                  <a:lnTo>
                    <a:pt x="1061" y="690"/>
                  </a:lnTo>
                  <a:lnTo>
                    <a:pt x="1058" y="702"/>
                  </a:lnTo>
                  <a:lnTo>
                    <a:pt x="1052" y="715"/>
                  </a:lnTo>
                  <a:lnTo>
                    <a:pt x="1046" y="728"/>
                  </a:lnTo>
                  <a:lnTo>
                    <a:pt x="1041" y="733"/>
                  </a:lnTo>
                  <a:lnTo>
                    <a:pt x="1035" y="738"/>
                  </a:lnTo>
                  <a:lnTo>
                    <a:pt x="1030" y="744"/>
                  </a:lnTo>
                  <a:lnTo>
                    <a:pt x="1022" y="747"/>
                  </a:lnTo>
                  <a:lnTo>
                    <a:pt x="1015" y="751"/>
                  </a:lnTo>
                  <a:lnTo>
                    <a:pt x="1006" y="753"/>
                  </a:lnTo>
                  <a:lnTo>
                    <a:pt x="996" y="756"/>
                  </a:lnTo>
                  <a:lnTo>
                    <a:pt x="985" y="756"/>
                  </a:lnTo>
                  <a:lnTo>
                    <a:pt x="900" y="756"/>
                  </a:lnTo>
                  <a:lnTo>
                    <a:pt x="896" y="757"/>
                  </a:lnTo>
                  <a:lnTo>
                    <a:pt x="893" y="757"/>
                  </a:lnTo>
                  <a:lnTo>
                    <a:pt x="890" y="759"/>
                  </a:lnTo>
                  <a:lnTo>
                    <a:pt x="887" y="761"/>
                  </a:lnTo>
                  <a:lnTo>
                    <a:pt x="885" y="764"/>
                  </a:lnTo>
                  <a:lnTo>
                    <a:pt x="883" y="766"/>
                  </a:lnTo>
                  <a:lnTo>
                    <a:pt x="883" y="770"/>
                  </a:lnTo>
                  <a:lnTo>
                    <a:pt x="882" y="774"/>
                  </a:lnTo>
                  <a:lnTo>
                    <a:pt x="883" y="777"/>
                  </a:lnTo>
                  <a:lnTo>
                    <a:pt x="883" y="780"/>
                  </a:lnTo>
                  <a:lnTo>
                    <a:pt x="885" y="784"/>
                  </a:lnTo>
                  <a:lnTo>
                    <a:pt x="887" y="787"/>
                  </a:lnTo>
                  <a:lnTo>
                    <a:pt x="890" y="789"/>
                  </a:lnTo>
                  <a:lnTo>
                    <a:pt x="893" y="790"/>
                  </a:lnTo>
                  <a:lnTo>
                    <a:pt x="896" y="791"/>
                  </a:lnTo>
                  <a:lnTo>
                    <a:pt x="900" y="792"/>
                  </a:lnTo>
                  <a:lnTo>
                    <a:pt x="970" y="791"/>
                  </a:lnTo>
                  <a:lnTo>
                    <a:pt x="981" y="792"/>
                  </a:lnTo>
                  <a:lnTo>
                    <a:pt x="991" y="793"/>
                  </a:lnTo>
                  <a:lnTo>
                    <a:pt x="998" y="797"/>
                  </a:lnTo>
                  <a:lnTo>
                    <a:pt x="1005" y="800"/>
                  </a:lnTo>
                  <a:lnTo>
                    <a:pt x="1010" y="803"/>
                  </a:lnTo>
                  <a:lnTo>
                    <a:pt x="1015" y="807"/>
                  </a:lnTo>
                  <a:lnTo>
                    <a:pt x="1018" y="813"/>
                  </a:lnTo>
                  <a:lnTo>
                    <a:pt x="1020" y="818"/>
                  </a:lnTo>
                  <a:lnTo>
                    <a:pt x="1022" y="825"/>
                  </a:lnTo>
                  <a:lnTo>
                    <a:pt x="1022" y="830"/>
                  </a:lnTo>
                  <a:lnTo>
                    <a:pt x="1023" y="837"/>
                  </a:lnTo>
                  <a:lnTo>
                    <a:pt x="1022" y="843"/>
                  </a:lnTo>
                  <a:lnTo>
                    <a:pt x="1020" y="855"/>
                  </a:lnTo>
                  <a:lnTo>
                    <a:pt x="1018" y="866"/>
                  </a:lnTo>
                  <a:lnTo>
                    <a:pt x="1014" y="879"/>
                  </a:lnTo>
                  <a:lnTo>
                    <a:pt x="1008" y="892"/>
                  </a:lnTo>
                  <a:lnTo>
                    <a:pt x="1006" y="898"/>
                  </a:lnTo>
                  <a:lnTo>
                    <a:pt x="1003" y="904"/>
                  </a:lnTo>
                  <a:lnTo>
                    <a:pt x="998" y="909"/>
                  </a:lnTo>
                  <a:lnTo>
                    <a:pt x="994" y="914"/>
                  </a:lnTo>
                  <a:lnTo>
                    <a:pt x="989" y="919"/>
                  </a:lnTo>
                  <a:lnTo>
                    <a:pt x="983" y="923"/>
                  </a:lnTo>
                  <a:lnTo>
                    <a:pt x="976" y="927"/>
                  </a:lnTo>
                  <a:lnTo>
                    <a:pt x="968" y="930"/>
                  </a:lnTo>
                  <a:lnTo>
                    <a:pt x="958" y="933"/>
                  </a:lnTo>
                  <a:lnTo>
                    <a:pt x="948" y="934"/>
                  </a:lnTo>
                  <a:lnTo>
                    <a:pt x="936" y="935"/>
                  </a:lnTo>
                  <a:lnTo>
                    <a:pt x="923" y="936"/>
                  </a:lnTo>
                  <a:lnTo>
                    <a:pt x="863" y="936"/>
                  </a:lnTo>
                  <a:lnTo>
                    <a:pt x="860" y="936"/>
                  </a:lnTo>
                  <a:lnTo>
                    <a:pt x="857" y="937"/>
                  </a:lnTo>
                  <a:lnTo>
                    <a:pt x="854" y="939"/>
                  </a:lnTo>
                  <a:lnTo>
                    <a:pt x="852" y="941"/>
                  </a:lnTo>
                  <a:lnTo>
                    <a:pt x="849" y="944"/>
                  </a:lnTo>
                  <a:lnTo>
                    <a:pt x="847" y="947"/>
                  </a:lnTo>
                  <a:lnTo>
                    <a:pt x="846" y="950"/>
                  </a:lnTo>
                  <a:lnTo>
                    <a:pt x="846" y="954"/>
                  </a:lnTo>
                  <a:lnTo>
                    <a:pt x="846" y="958"/>
                  </a:lnTo>
                  <a:lnTo>
                    <a:pt x="847" y="961"/>
                  </a:lnTo>
                  <a:lnTo>
                    <a:pt x="849" y="964"/>
                  </a:lnTo>
                  <a:lnTo>
                    <a:pt x="852" y="966"/>
                  </a:lnTo>
                  <a:lnTo>
                    <a:pt x="854" y="968"/>
                  </a:lnTo>
                  <a:lnTo>
                    <a:pt x="857" y="971"/>
                  </a:lnTo>
                  <a:lnTo>
                    <a:pt x="860" y="972"/>
                  </a:lnTo>
                  <a:lnTo>
                    <a:pt x="863" y="972"/>
                  </a:lnTo>
                  <a:lnTo>
                    <a:pt x="921" y="972"/>
                  </a:lnTo>
                  <a:lnTo>
                    <a:pt x="927" y="973"/>
                  </a:lnTo>
                  <a:lnTo>
                    <a:pt x="934" y="974"/>
                  </a:lnTo>
                  <a:lnTo>
                    <a:pt x="939" y="975"/>
                  </a:lnTo>
                  <a:lnTo>
                    <a:pt x="943" y="978"/>
                  </a:lnTo>
                  <a:lnTo>
                    <a:pt x="947" y="981"/>
                  </a:lnTo>
                  <a:lnTo>
                    <a:pt x="950" y="985"/>
                  </a:lnTo>
                  <a:lnTo>
                    <a:pt x="953" y="988"/>
                  </a:lnTo>
                  <a:lnTo>
                    <a:pt x="955" y="992"/>
                  </a:lnTo>
                  <a:lnTo>
                    <a:pt x="957" y="1001"/>
                  </a:lnTo>
                  <a:lnTo>
                    <a:pt x="958" y="1008"/>
                  </a:lnTo>
                  <a:lnTo>
                    <a:pt x="958" y="1016"/>
                  </a:lnTo>
                  <a:lnTo>
                    <a:pt x="957" y="1022"/>
                  </a:lnTo>
                  <a:lnTo>
                    <a:pt x="951" y="1041"/>
                  </a:lnTo>
                  <a:lnTo>
                    <a:pt x="948" y="1048"/>
                  </a:lnTo>
                  <a:lnTo>
                    <a:pt x="943" y="1056"/>
                  </a:lnTo>
                  <a:lnTo>
                    <a:pt x="938" y="1061"/>
                  </a:lnTo>
                  <a:lnTo>
                    <a:pt x="931" y="1067"/>
                  </a:lnTo>
                  <a:lnTo>
                    <a:pt x="924" y="1071"/>
                  </a:lnTo>
                  <a:lnTo>
                    <a:pt x="916" y="1075"/>
                  </a:lnTo>
                  <a:lnTo>
                    <a:pt x="907" y="1077"/>
                  </a:lnTo>
                  <a:lnTo>
                    <a:pt x="895" y="1080"/>
                  </a:lnTo>
                  <a:lnTo>
                    <a:pt x="882" y="1080"/>
                  </a:lnTo>
                  <a:lnTo>
                    <a:pt x="685" y="1080"/>
                  </a:lnTo>
                  <a:lnTo>
                    <a:pt x="649" y="1079"/>
                  </a:lnTo>
                  <a:lnTo>
                    <a:pt x="613" y="1076"/>
                  </a:lnTo>
                  <a:lnTo>
                    <a:pt x="579" y="1073"/>
                  </a:lnTo>
                  <a:lnTo>
                    <a:pt x="549" y="1069"/>
                  </a:lnTo>
                  <a:lnTo>
                    <a:pt x="523" y="1065"/>
                  </a:lnTo>
                  <a:lnTo>
                    <a:pt x="504" y="1060"/>
                  </a:lnTo>
                  <a:lnTo>
                    <a:pt x="491" y="1058"/>
                  </a:lnTo>
                  <a:lnTo>
                    <a:pt x="485" y="1057"/>
                  </a:lnTo>
                  <a:lnTo>
                    <a:pt x="436" y="1045"/>
                  </a:lnTo>
                  <a:lnTo>
                    <a:pt x="398" y="1036"/>
                  </a:lnTo>
                  <a:lnTo>
                    <a:pt x="370" y="1030"/>
                  </a:lnTo>
                  <a:lnTo>
                    <a:pt x="349" y="1025"/>
                  </a:lnTo>
                  <a:lnTo>
                    <a:pt x="336" y="1021"/>
                  </a:lnTo>
                  <a:lnTo>
                    <a:pt x="328" y="1019"/>
                  </a:lnTo>
                  <a:lnTo>
                    <a:pt x="322" y="1018"/>
                  </a:lnTo>
                  <a:lnTo>
                    <a:pt x="319" y="1017"/>
                  </a:lnTo>
                  <a:lnTo>
                    <a:pt x="314" y="1016"/>
                  </a:lnTo>
                  <a:lnTo>
                    <a:pt x="304" y="1012"/>
                  </a:lnTo>
                  <a:lnTo>
                    <a:pt x="297" y="1007"/>
                  </a:lnTo>
                  <a:lnTo>
                    <a:pt x="293" y="1002"/>
                  </a:lnTo>
                  <a:lnTo>
                    <a:pt x="291" y="999"/>
                  </a:lnTo>
                  <a:lnTo>
                    <a:pt x="290" y="994"/>
                  </a:lnTo>
                  <a:lnTo>
                    <a:pt x="289" y="990"/>
                  </a:lnTo>
                  <a:lnTo>
                    <a:pt x="288" y="986"/>
                  </a:lnTo>
                  <a:lnTo>
                    <a:pt x="288" y="488"/>
                  </a:lnTo>
                  <a:lnTo>
                    <a:pt x="289" y="482"/>
                  </a:lnTo>
                  <a:lnTo>
                    <a:pt x="290" y="476"/>
                  </a:lnTo>
                  <a:lnTo>
                    <a:pt x="292" y="471"/>
                  </a:lnTo>
                  <a:lnTo>
                    <a:pt x="295" y="465"/>
                  </a:lnTo>
                  <a:lnTo>
                    <a:pt x="300" y="461"/>
                  </a:lnTo>
                  <a:lnTo>
                    <a:pt x="305" y="456"/>
                  </a:lnTo>
                  <a:lnTo>
                    <a:pt x="310" y="453"/>
                  </a:lnTo>
                  <a:lnTo>
                    <a:pt x="317" y="451"/>
                  </a:lnTo>
                  <a:lnTo>
                    <a:pt x="320" y="449"/>
                  </a:lnTo>
                  <a:lnTo>
                    <a:pt x="325" y="448"/>
                  </a:lnTo>
                  <a:lnTo>
                    <a:pt x="339" y="441"/>
                  </a:lnTo>
                  <a:lnTo>
                    <a:pt x="354" y="434"/>
                  </a:lnTo>
                  <a:lnTo>
                    <a:pt x="368" y="426"/>
                  </a:lnTo>
                  <a:lnTo>
                    <a:pt x="381" y="419"/>
                  </a:lnTo>
                  <a:lnTo>
                    <a:pt x="393" y="410"/>
                  </a:lnTo>
                  <a:lnTo>
                    <a:pt x="404" y="401"/>
                  </a:lnTo>
                  <a:lnTo>
                    <a:pt x="416" y="393"/>
                  </a:lnTo>
                  <a:lnTo>
                    <a:pt x="427" y="383"/>
                  </a:lnTo>
                  <a:lnTo>
                    <a:pt x="437" y="373"/>
                  </a:lnTo>
                  <a:lnTo>
                    <a:pt x="447" y="364"/>
                  </a:lnTo>
                  <a:lnTo>
                    <a:pt x="455" y="353"/>
                  </a:lnTo>
                  <a:lnTo>
                    <a:pt x="464" y="343"/>
                  </a:lnTo>
                  <a:lnTo>
                    <a:pt x="480" y="320"/>
                  </a:lnTo>
                  <a:lnTo>
                    <a:pt x="493" y="299"/>
                  </a:lnTo>
                  <a:lnTo>
                    <a:pt x="505" y="275"/>
                  </a:lnTo>
                  <a:lnTo>
                    <a:pt x="515" y="251"/>
                  </a:lnTo>
                  <a:lnTo>
                    <a:pt x="522" y="228"/>
                  </a:lnTo>
                  <a:lnTo>
                    <a:pt x="529" y="203"/>
                  </a:lnTo>
                  <a:lnTo>
                    <a:pt x="534" y="179"/>
                  </a:lnTo>
                  <a:lnTo>
                    <a:pt x="537" y="155"/>
                  </a:lnTo>
                  <a:lnTo>
                    <a:pt x="539" y="131"/>
                  </a:lnTo>
                  <a:lnTo>
                    <a:pt x="541" y="108"/>
                  </a:lnTo>
                  <a:lnTo>
                    <a:pt x="541" y="101"/>
                  </a:lnTo>
                  <a:lnTo>
                    <a:pt x="543" y="95"/>
                  </a:lnTo>
                  <a:lnTo>
                    <a:pt x="546" y="89"/>
                  </a:lnTo>
                  <a:lnTo>
                    <a:pt x="549" y="84"/>
                  </a:lnTo>
                  <a:lnTo>
                    <a:pt x="555" y="78"/>
                  </a:lnTo>
                  <a:lnTo>
                    <a:pt x="561" y="75"/>
                  </a:lnTo>
                  <a:lnTo>
                    <a:pt x="568" y="73"/>
                  </a:lnTo>
                  <a:lnTo>
                    <a:pt x="576" y="72"/>
                  </a:lnTo>
                  <a:lnTo>
                    <a:pt x="584" y="73"/>
                  </a:lnTo>
                  <a:lnTo>
                    <a:pt x="591" y="75"/>
                  </a:lnTo>
                  <a:lnTo>
                    <a:pt x="600" y="80"/>
                  </a:lnTo>
                  <a:lnTo>
                    <a:pt x="609" y="85"/>
                  </a:lnTo>
                  <a:lnTo>
                    <a:pt x="617" y="93"/>
                  </a:lnTo>
                  <a:lnTo>
                    <a:pt x="626" y="101"/>
                  </a:lnTo>
                  <a:lnTo>
                    <a:pt x="634" y="111"/>
                  </a:lnTo>
                  <a:lnTo>
                    <a:pt x="643" y="122"/>
                  </a:lnTo>
                  <a:lnTo>
                    <a:pt x="651" y="134"/>
                  </a:lnTo>
                  <a:lnTo>
                    <a:pt x="658" y="148"/>
                  </a:lnTo>
                  <a:lnTo>
                    <a:pt x="665" y="162"/>
                  </a:lnTo>
                  <a:lnTo>
                    <a:pt x="670" y="176"/>
                  </a:lnTo>
                  <a:lnTo>
                    <a:pt x="674" y="192"/>
                  </a:lnTo>
                  <a:lnTo>
                    <a:pt x="679" y="208"/>
                  </a:lnTo>
                  <a:lnTo>
                    <a:pt x="681" y="225"/>
                  </a:lnTo>
                  <a:lnTo>
                    <a:pt x="681" y="243"/>
                  </a:lnTo>
                  <a:lnTo>
                    <a:pt x="681" y="272"/>
                  </a:lnTo>
                  <a:lnTo>
                    <a:pt x="680" y="296"/>
                  </a:lnTo>
                  <a:lnTo>
                    <a:pt x="679" y="317"/>
                  </a:lnTo>
                  <a:lnTo>
                    <a:pt x="676" y="336"/>
                  </a:lnTo>
                  <a:lnTo>
                    <a:pt x="671" y="355"/>
                  </a:lnTo>
                  <a:lnTo>
                    <a:pt x="666" y="377"/>
                  </a:lnTo>
                  <a:lnTo>
                    <a:pt x="658" y="401"/>
                  </a:lnTo>
                  <a:lnTo>
                    <a:pt x="649" y="432"/>
                  </a:lnTo>
                  <a:lnTo>
                    <a:pt x="766" y="432"/>
                  </a:lnTo>
                  <a:lnTo>
                    <a:pt x="856" y="433"/>
                  </a:lnTo>
                  <a:lnTo>
                    <a:pt x="921" y="434"/>
                  </a:lnTo>
                  <a:lnTo>
                    <a:pt x="966" y="436"/>
                  </a:lnTo>
                  <a:lnTo>
                    <a:pt x="995" y="437"/>
                  </a:lnTo>
                  <a:lnTo>
                    <a:pt x="1014" y="439"/>
                  </a:lnTo>
                  <a:lnTo>
                    <a:pt x="1027" y="442"/>
                  </a:lnTo>
                  <a:lnTo>
                    <a:pt x="1037" y="446"/>
                  </a:lnTo>
                  <a:lnTo>
                    <a:pt x="1044" y="448"/>
                  </a:lnTo>
                  <a:lnTo>
                    <a:pt x="1050" y="450"/>
                  </a:lnTo>
                  <a:lnTo>
                    <a:pt x="1056" y="453"/>
                  </a:lnTo>
                  <a:lnTo>
                    <a:pt x="1060" y="458"/>
                  </a:lnTo>
                  <a:lnTo>
                    <a:pt x="1068" y="465"/>
                  </a:lnTo>
                  <a:lnTo>
                    <a:pt x="1073" y="473"/>
                  </a:lnTo>
                  <a:lnTo>
                    <a:pt x="1077" y="481"/>
                  </a:lnTo>
                  <a:lnTo>
                    <a:pt x="1078" y="489"/>
                  </a:lnTo>
                  <a:lnTo>
                    <a:pt x="1079" y="495"/>
                  </a:lnTo>
                  <a:lnTo>
                    <a:pt x="1081" y="501"/>
                  </a:lnTo>
                  <a:lnTo>
                    <a:pt x="1079" y="512"/>
                  </a:lnTo>
                  <a:lnTo>
                    <a:pt x="1079" y="523"/>
                  </a:lnTo>
                  <a:close/>
                  <a:moveTo>
                    <a:pt x="252" y="1044"/>
                  </a:moveTo>
                  <a:lnTo>
                    <a:pt x="251" y="1052"/>
                  </a:lnTo>
                  <a:lnTo>
                    <a:pt x="249" y="1058"/>
                  </a:lnTo>
                  <a:lnTo>
                    <a:pt x="246" y="1063"/>
                  </a:lnTo>
                  <a:lnTo>
                    <a:pt x="241" y="1069"/>
                  </a:lnTo>
                  <a:lnTo>
                    <a:pt x="236" y="1073"/>
                  </a:lnTo>
                  <a:lnTo>
                    <a:pt x="231" y="1077"/>
                  </a:lnTo>
                  <a:lnTo>
                    <a:pt x="223" y="1079"/>
                  </a:lnTo>
                  <a:lnTo>
                    <a:pt x="216" y="1080"/>
                  </a:lnTo>
                  <a:lnTo>
                    <a:pt x="108" y="1080"/>
                  </a:lnTo>
                  <a:lnTo>
                    <a:pt x="101" y="1079"/>
                  </a:lnTo>
                  <a:lnTo>
                    <a:pt x="94" y="1077"/>
                  </a:lnTo>
                  <a:lnTo>
                    <a:pt x="88" y="1073"/>
                  </a:lnTo>
                  <a:lnTo>
                    <a:pt x="83" y="1069"/>
                  </a:lnTo>
                  <a:lnTo>
                    <a:pt x="78" y="1063"/>
                  </a:lnTo>
                  <a:lnTo>
                    <a:pt x="75" y="1058"/>
                  </a:lnTo>
                  <a:lnTo>
                    <a:pt x="73" y="1052"/>
                  </a:lnTo>
                  <a:lnTo>
                    <a:pt x="72" y="1044"/>
                  </a:lnTo>
                  <a:lnTo>
                    <a:pt x="72" y="468"/>
                  </a:lnTo>
                  <a:lnTo>
                    <a:pt x="73" y="461"/>
                  </a:lnTo>
                  <a:lnTo>
                    <a:pt x="75" y="454"/>
                  </a:lnTo>
                  <a:lnTo>
                    <a:pt x="78" y="448"/>
                  </a:lnTo>
                  <a:lnTo>
                    <a:pt x="83" y="442"/>
                  </a:lnTo>
                  <a:lnTo>
                    <a:pt x="88" y="438"/>
                  </a:lnTo>
                  <a:lnTo>
                    <a:pt x="94" y="435"/>
                  </a:lnTo>
                  <a:lnTo>
                    <a:pt x="101" y="433"/>
                  </a:lnTo>
                  <a:lnTo>
                    <a:pt x="108" y="432"/>
                  </a:lnTo>
                  <a:lnTo>
                    <a:pt x="216" y="432"/>
                  </a:lnTo>
                  <a:lnTo>
                    <a:pt x="223" y="433"/>
                  </a:lnTo>
                  <a:lnTo>
                    <a:pt x="231" y="435"/>
                  </a:lnTo>
                  <a:lnTo>
                    <a:pt x="236" y="438"/>
                  </a:lnTo>
                  <a:lnTo>
                    <a:pt x="241" y="442"/>
                  </a:lnTo>
                  <a:lnTo>
                    <a:pt x="246" y="448"/>
                  </a:lnTo>
                  <a:lnTo>
                    <a:pt x="249" y="454"/>
                  </a:lnTo>
                  <a:lnTo>
                    <a:pt x="251" y="461"/>
                  </a:lnTo>
                  <a:lnTo>
                    <a:pt x="252" y="468"/>
                  </a:lnTo>
                  <a:lnTo>
                    <a:pt x="252" y="1044"/>
                  </a:lnTo>
                  <a:close/>
                  <a:moveTo>
                    <a:pt x="1050" y="377"/>
                  </a:moveTo>
                  <a:lnTo>
                    <a:pt x="1030" y="373"/>
                  </a:lnTo>
                  <a:lnTo>
                    <a:pt x="1005" y="370"/>
                  </a:lnTo>
                  <a:lnTo>
                    <a:pt x="975" y="368"/>
                  </a:lnTo>
                  <a:lnTo>
                    <a:pt x="938" y="366"/>
                  </a:lnTo>
                  <a:lnTo>
                    <a:pt x="897" y="365"/>
                  </a:lnTo>
                  <a:lnTo>
                    <a:pt x="852" y="364"/>
                  </a:lnTo>
                  <a:lnTo>
                    <a:pt x="800" y="363"/>
                  </a:lnTo>
                  <a:lnTo>
                    <a:pt x="745" y="361"/>
                  </a:lnTo>
                  <a:lnTo>
                    <a:pt x="749" y="336"/>
                  </a:lnTo>
                  <a:lnTo>
                    <a:pt x="751" y="310"/>
                  </a:lnTo>
                  <a:lnTo>
                    <a:pt x="753" y="279"/>
                  </a:lnTo>
                  <a:lnTo>
                    <a:pt x="753" y="243"/>
                  </a:lnTo>
                  <a:lnTo>
                    <a:pt x="752" y="219"/>
                  </a:lnTo>
                  <a:lnTo>
                    <a:pt x="749" y="195"/>
                  </a:lnTo>
                  <a:lnTo>
                    <a:pt x="744" y="172"/>
                  </a:lnTo>
                  <a:lnTo>
                    <a:pt x="737" y="151"/>
                  </a:lnTo>
                  <a:lnTo>
                    <a:pt x="728" y="129"/>
                  </a:lnTo>
                  <a:lnTo>
                    <a:pt x="719" y="109"/>
                  </a:lnTo>
                  <a:lnTo>
                    <a:pt x="708" y="90"/>
                  </a:lnTo>
                  <a:lnTo>
                    <a:pt x="696" y="73"/>
                  </a:lnTo>
                  <a:lnTo>
                    <a:pt x="683" y="57"/>
                  </a:lnTo>
                  <a:lnTo>
                    <a:pt x="669" y="43"/>
                  </a:lnTo>
                  <a:lnTo>
                    <a:pt x="654" y="30"/>
                  </a:lnTo>
                  <a:lnTo>
                    <a:pt x="639" y="20"/>
                  </a:lnTo>
                  <a:lnTo>
                    <a:pt x="624" y="12"/>
                  </a:lnTo>
                  <a:lnTo>
                    <a:pt x="607" y="5"/>
                  </a:lnTo>
                  <a:lnTo>
                    <a:pt x="600" y="3"/>
                  </a:lnTo>
                  <a:lnTo>
                    <a:pt x="591" y="1"/>
                  </a:lnTo>
                  <a:lnTo>
                    <a:pt x="584" y="0"/>
                  </a:lnTo>
                  <a:lnTo>
                    <a:pt x="576" y="0"/>
                  </a:lnTo>
                  <a:lnTo>
                    <a:pt x="565" y="1"/>
                  </a:lnTo>
                  <a:lnTo>
                    <a:pt x="555" y="2"/>
                  </a:lnTo>
                  <a:lnTo>
                    <a:pt x="544" y="5"/>
                  </a:lnTo>
                  <a:lnTo>
                    <a:pt x="534" y="8"/>
                  </a:lnTo>
                  <a:lnTo>
                    <a:pt x="525" y="13"/>
                  </a:lnTo>
                  <a:lnTo>
                    <a:pt x="516" y="18"/>
                  </a:lnTo>
                  <a:lnTo>
                    <a:pt x="508" y="24"/>
                  </a:lnTo>
                  <a:lnTo>
                    <a:pt x="501" y="31"/>
                  </a:lnTo>
                  <a:lnTo>
                    <a:pt x="493" y="39"/>
                  </a:lnTo>
                  <a:lnTo>
                    <a:pt x="487" y="47"/>
                  </a:lnTo>
                  <a:lnTo>
                    <a:pt x="481" y="56"/>
                  </a:lnTo>
                  <a:lnTo>
                    <a:pt x="477" y="66"/>
                  </a:lnTo>
                  <a:lnTo>
                    <a:pt x="474" y="75"/>
                  </a:lnTo>
                  <a:lnTo>
                    <a:pt x="470" y="85"/>
                  </a:lnTo>
                  <a:lnTo>
                    <a:pt x="469" y="96"/>
                  </a:lnTo>
                  <a:lnTo>
                    <a:pt x="468" y="107"/>
                  </a:lnTo>
                  <a:lnTo>
                    <a:pt x="467" y="122"/>
                  </a:lnTo>
                  <a:lnTo>
                    <a:pt x="467" y="137"/>
                  </a:lnTo>
                  <a:lnTo>
                    <a:pt x="465" y="153"/>
                  </a:lnTo>
                  <a:lnTo>
                    <a:pt x="462" y="169"/>
                  </a:lnTo>
                  <a:lnTo>
                    <a:pt x="458" y="186"/>
                  </a:lnTo>
                  <a:lnTo>
                    <a:pt x="454" y="205"/>
                  </a:lnTo>
                  <a:lnTo>
                    <a:pt x="448" y="223"/>
                  </a:lnTo>
                  <a:lnTo>
                    <a:pt x="441" y="240"/>
                  </a:lnTo>
                  <a:lnTo>
                    <a:pt x="433" y="259"/>
                  </a:lnTo>
                  <a:lnTo>
                    <a:pt x="423" y="277"/>
                  </a:lnTo>
                  <a:lnTo>
                    <a:pt x="411" y="294"/>
                  </a:lnTo>
                  <a:lnTo>
                    <a:pt x="397" y="311"/>
                  </a:lnTo>
                  <a:lnTo>
                    <a:pt x="382" y="327"/>
                  </a:lnTo>
                  <a:lnTo>
                    <a:pt x="364" y="342"/>
                  </a:lnTo>
                  <a:lnTo>
                    <a:pt x="356" y="348"/>
                  </a:lnTo>
                  <a:lnTo>
                    <a:pt x="345" y="356"/>
                  </a:lnTo>
                  <a:lnTo>
                    <a:pt x="335" y="363"/>
                  </a:lnTo>
                  <a:lnTo>
                    <a:pt x="325" y="368"/>
                  </a:lnTo>
                  <a:lnTo>
                    <a:pt x="315" y="373"/>
                  </a:lnTo>
                  <a:lnTo>
                    <a:pt x="303" y="379"/>
                  </a:lnTo>
                  <a:lnTo>
                    <a:pt x="292" y="384"/>
                  </a:lnTo>
                  <a:lnTo>
                    <a:pt x="286" y="387"/>
                  </a:lnTo>
                  <a:lnTo>
                    <a:pt x="288" y="388"/>
                  </a:lnTo>
                  <a:lnTo>
                    <a:pt x="280" y="383"/>
                  </a:lnTo>
                  <a:lnTo>
                    <a:pt x="273" y="378"/>
                  </a:lnTo>
                  <a:lnTo>
                    <a:pt x="264" y="372"/>
                  </a:lnTo>
                  <a:lnTo>
                    <a:pt x="255" y="368"/>
                  </a:lnTo>
                  <a:lnTo>
                    <a:pt x="246" y="365"/>
                  </a:lnTo>
                  <a:lnTo>
                    <a:pt x="236" y="363"/>
                  </a:lnTo>
                  <a:lnTo>
                    <a:pt x="226" y="360"/>
                  </a:lnTo>
                  <a:lnTo>
                    <a:pt x="216" y="360"/>
                  </a:lnTo>
                  <a:lnTo>
                    <a:pt x="108" y="360"/>
                  </a:lnTo>
                  <a:lnTo>
                    <a:pt x="97" y="360"/>
                  </a:lnTo>
                  <a:lnTo>
                    <a:pt x="86" y="363"/>
                  </a:lnTo>
                  <a:lnTo>
                    <a:pt x="76" y="365"/>
                  </a:lnTo>
                  <a:lnTo>
                    <a:pt x="66" y="368"/>
                  </a:lnTo>
                  <a:lnTo>
                    <a:pt x="57" y="373"/>
                  </a:lnTo>
                  <a:lnTo>
                    <a:pt x="48" y="379"/>
                  </a:lnTo>
                  <a:lnTo>
                    <a:pt x="39" y="384"/>
                  </a:lnTo>
                  <a:lnTo>
                    <a:pt x="32" y="392"/>
                  </a:lnTo>
                  <a:lnTo>
                    <a:pt x="24" y="399"/>
                  </a:lnTo>
                  <a:lnTo>
                    <a:pt x="19" y="408"/>
                  </a:lnTo>
                  <a:lnTo>
                    <a:pt x="13" y="417"/>
                  </a:lnTo>
                  <a:lnTo>
                    <a:pt x="8" y="426"/>
                  </a:lnTo>
                  <a:lnTo>
                    <a:pt x="5" y="436"/>
                  </a:lnTo>
                  <a:lnTo>
                    <a:pt x="3" y="446"/>
                  </a:lnTo>
                  <a:lnTo>
                    <a:pt x="0" y="456"/>
                  </a:lnTo>
                  <a:lnTo>
                    <a:pt x="0" y="468"/>
                  </a:lnTo>
                  <a:lnTo>
                    <a:pt x="0" y="1044"/>
                  </a:lnTo>
                  <a:lnTo>
                    <a:pt x="0" y="1055"/>
                  </a:lnTo>
                  <a:lnTo>
                    <a:pt x="3" y="1066"/>
                  </a:lnTo>
                  <a:lnTo>
                    <a:pt x="5" y="1076"/>
                  </a:lnTo>
                  <a:lnTo>
                    <a:pt x="8" y="1086"/>
                  </a:lnTo>
                  <a:lnTo>
                    <a:pt x="13" y="1095"/>
                  </a:lnTo>
                  <a:lnTo>
                    <a:pt x="19" y="1104"/>
                  </a:lnTo>
                  <a:lnTo>
                    <a:pt x="24" y="1112"/>
                  </a:lnTo>
                  <a:lnTo>
                    <a:pt x="32" y="1121"/>
                  </a:lnTo>
                  <a:lnTo>
                    <a:pt x="39" y="1127"/>
                  </a:lnTo>
                  <a:lnTo>
                    <a:pt x="48" y="1134"/>
                  </a:lnTo>
                  <a:lnTo>
                    <a:pt x="57" y="1139"/>
                  </a:lnTo>
                  <a:lnTo>
                    <a:pt x="66" y="1143"/>
                  </a:lnTo>
                  <a:lnTo>
                    <a:pt x="76" y="1147"/>
                  </a:lnTo>
                  <a:lnTo>
                    <a:pt x="86" y="1150"/>
                  </a:lnTo>
                  <a:lnTo>
                    <a:pt x="97" y="1151"/>
                  </a:lnTo>
                  <a:lnTo>
                    <a:pt x="108" y="1152"/>
                  </a:lnTo>
                  <a:lnTo>
                    <a:pt x="216" y="1152"/>
                  </a:lnTo>
                  <a:lnTo>
                    <a:pt x="224" y="1152"/>
                  </a:lnTo>
                  <a:lnTo>
                    <a:pt x="232" y="1151"/>
                  </a:lnTo>
                  <a:lnTo>
                    <a:pt x="239" y="1149"/>
                  </a:lnTo>
                  <a:lnTo>
                    <a:pt x="247" y="1148"/>
                  </a:lnTo>
                  <a:lnTo>
                    <a:pt x="254" y="1144"/>
                  </a:lnTo>
                  <a:lnTo>
                    <a:pt x="261" y="1141"/>
                  </a:lnTo>
                  <a:lnTo>
                    <a:pt x="267" y="1138"/>
                  </a:lnTo>
                  <a:lnTo>
                    <a:pt x="274" y="1135"/>
                  </a:lnTo>
                  <a:lnTo>
                    <a:pt x="286" y="1125"/>
                  </a:lnTo>
                  <a:lnTo>
                    <a:pt x="295" y="1114"/>
                  </a:lnTo>
                  <a:lnTo>
                    <a:pt x="305" y="1102"/>
                  </a:lnTo>
                  <a:lnTo>
                    <a:pt x="312" y="1089"/>
                  </a:lnTo>
                  <a:lnTo>
                    <a:pt x="313" y="1089"/>
                  </a:lnTo>
                  <a:lnTo>
                    <a:pt x="314" y="1090"/>
                  </a:lnTo>
                  <a:lnTo>
                    <a:pt x="318" y="1092"/>
                  </a:lnTo>
                  <a:lnTo>
                    <a:pt x="322" y="1093"/>
                  </a:lnTo>
                  <a:lnTo>
                    <a:pt x="323" y="1093"/>
                  </a:lnTo>
                  <a:lnTo>
                    <a:pt x="325" y="1093"/>
                  </a:lnTo>
                  <a:lnTo>
                    <a:pt x="344" y="1098"/>
                  </a:lnTo>
                  <a:lnTo>
                    <a:pt x="373" y="1104"/>
                  </a:lnTo>
                  <a:lnTo>
                    <a:pt x="414" y="1114"/>
                  </a:lnTo>
                  <a:lnTo>
                    <a:pt x="470" y="1127"/>
                  </a:lnTo>
                  <a:lnTo>
                    <a:pt x="480" y="1129"/>
                  </a:lnTo>
                  <a:lnTo>
                    <a:pt x="497" y="1133"/>
                  </a:lnTo>
                  <a:lnTo>
                    <a:pt x="520" y="1137"/>
                  </a:lnTo>
                  <a:lnTo>
                    <a:pt x="547" y="1141"/>
                  </a:lnTo>
                  <a:lnTo>
                    <a:pt x="578" y="1146"/>
                  </a:lnTo>
                  <a:lnTo>
                    <a:pt x="612" y="1149"/>
                  </a:lnTo>
                  <a:lnTo>
                    <a:pt x="647" y="1151"/>
                  </a:lnTo>
                  <a:lnTo>
                    <a:pt x="685" y="1152"/>
                  </a:lnTo>
                  <a:lnTo>
                    <a:pt x="882" y="1152"/>
                  </a:lnTo>
                  <a:lnTo>
                    <a:pt x="893" y="1152"/>
                  </a:lnTo>
                  <a:lnTo>
                    <a:pt x="903" y="1151"/>
                  </a:lnTo>
                  <a:lnTo>
                    <a:pt x="914" y="1150"/>
                  </a:lnTo>
                  <a:lnTo>
                    <a:pt x="924" y="1148"/>
                  </a:lnTo>
                  <a:lnTo>
                    <a:pt x="934" y="1146"/>
                  </a:lnTo>
                  <a:lnTo>
                    <a:pt x="942" y="1142"/>
                  </a:lnTo>
                  <a:lnTo>
                    <a:pt x="951" y="1139"/>
                  </a:lnTo>
                  <a:lnTo>
                    <a:pt x="960" y="1135"/>
                  </a:lnTo>
                  <a:lnTo>
                    <a:pt x="967" y="1130"/>
                  </a:lnTo>
                  <a:lnTo>
                    <a:pt x="975" y="1125"/>
                  </a:lnTo>
                  <a:lnTo>
                    <a:pt x="981" y="1119"/>
                  </a:lnTo>
                  <a:lnTo>
                    <a:pt x="989" y="1113"/>
                  </a:lnTo>
                  <a:lnTo>
                    <a:pt x="994" y="1106"/>
                  </a:lnTo>
                  <a:lnTo>
                    <a:pt x="1001" y="1099"/>
                  </a:lnTo>
                  <a:lnTo>
                    <a:pt x="1006" y="1090"/>
                  </a:lnTo>
                  <a:lnTo>
                    <a:pt x="1010" y="1083"/>
                  </a:lnTo>
                  <a:lnTo>
                    <a:pt x="1012" y="1080"/>
                  </a:lnTo>
                  <a:lnTo>
                    <a:pt x="1016" y="1071"/>
                  </a:lnTo>
                  <a:lnTo>
                    <a:pt x="1021" y="1059"/>
                  </a:lnTo>
                  <a:lnTo>
                    <a:pt x="1027" y="1044"/>
                  </a:lnTo>
                  <a:lnTo>
                    <a:pt x="1030" y="1030"/>
                  </a:lnTo>
                  <a:lnTo>
                    <a:pt x="1031" y="1015"/>
                  </a:lnTo>
                  <a:lnTo>
                    <a:pt x="1031" y="1006"/>
                  </a:lnTo>
                  <a:lnTo>
                    <a:pt x="1030" y="998"/>
                  </a:lnTo>
                  <a:lnTo>
                    <a:pt x="1029" y="989"/>
                  </a:lnTo>
                  <a:lnTo>
                    <a:pt x="1027" y="980"/>
                  </a:lnTo>
                  <a:lnTo>
                    <a:pt x="1034" y="975"/>
                  </a:lnTo>
                  <a:lnTo>
                    <a:pt x="1041" y="969"/>
                  </a:lnTo>
                  <a:lnTo>
                    <a:pt x="1046" y="964"/>
                  </a:lnTo>
                  <a:lnTo>
                    <a:pt x="1051" y="959"/>
                  </a:lnTo>
                  <a:lnTo>
                    <a:pt x="1061" y="946"/>
                  </a:lnTo>
                  <a:lnTo>
                    <a:pt x="1068" y="934"/>
                  </a:lnTo>
                  <a:lnTo>
                    <a:pt x="1074" y="921"/>
                  </a:lnTo>
                  <a:lnTo>
                    <a:pt x="1079" y="909"/>
                  </a:lnTo>
                  <a:lnTo>
                    <a:pt x="1083" y="898"/>
                  </a:lnTo>
                  <a:lnTo>
                    <a:pt x="1086" y="887"/>
                  </a:lnTo>
                  <a:lnTo>
                    <a:pt x="1090" y="872"/>
                  </a:lnTo>
                  <a:lnTo>
                    <a:pt x="1093" y="857"/>
                  </a:lnTo>
                  <a:lnTo>
                    <a:pt x="1095" y="843"/>
                  </a:lnTo>
                  <a:lnTo>
                    <a:pt x="1095" y="831"/>
                  </a:lnTo>
                  <a:lnTo>
                    <a:pt x="1093" y="819"/>
                  </a:lnTo>
                  <a:lnTo>
                    <a:pt x="1092" y="809"/>
                  </a:lnTo>
                  <a:lnTo>
                    <a:pt x="1089" y="799"/>
                  </a:lnTo>
                  <a:lnTo>
                    <a:pt x="1086" y="789"/>
                  </a:lnTo>
                  <a:lnTo>
                    <a:pt x="1095" y="782"/>
                  </a:lnTo>
                  <a:lnTo>
                    <a:pt x="1102" y="772"/>
                  </a:lnTo>
                  <a:lnTo>
                    <a:pt x="1109" y="761"/>
                  </a:lnTo>
                  <a:lnTo>
                    <a:pt x="1115" y="750"/>
                  </a:lnTo>
                  <a:lnTo>
                    <a:pt x="1122" y="737"/>
                  </a:lnTo>
                  <a:lnTo>
                    <a:pt x="1127" y="722"/>
                  </a:lnTo>
                  <a:lnTo>
                    <a:pt x="1131" y="707"/>
                  </a:lnTo>
                  <a:lnTo>
                    <a:pt x="1135" y="690"/>
                  </a:lnTo>
                  <a:lnTo>
                    <a:pt x="1136" y="679"/>
                  </a:lnTo>
                  <a:lnTo>
                    <a:pt x="1137" y="667"/>
                  </a:lnTo>
                  <a:lnTo>
                    <a:pt x="1136" y="656"/>
                  </a:lnTo>
                  <a:lnTo>
                    <a:pt x="1135" y="645"/>
                  </a:lnTo>
                  <a:lnTo>
                    <a:pt x="1132" y="635"/>
                  </a:lnTo>
                  <a:lnTo>
                    <a:pt x="1129" y="624"/>
                  </a:lnTo>
                  <a:lnTo>
                    <a:pt x="1125" y="614"/>
                  </a:lnTo>
                  <a:lnTo>
                    <a:pt x="1120" y="604"/>
                  </a:lnTo>
                  <a:lnTo>
                    <a:pt x="1128" y="596"/>
                  </a:lnTo>
                  <a:lnTo>
                    <a:pt x="1133" y="586"/>
                  </a:lnTo>
                  <a:lnTo>
                    <a:pt x="1139" y="576"/>
                  </a:lnTo>
                  <a:lnTo>
                    <a:pt x="1143" y="567"/>
                  </a:lnTo>
                  <a:lnTo>
                    <a:pt x="1146" y="557"/>
                  </a:lnTo>
                  <a:lnTo>
                    <a:pt x="1149" y="546"/>
                  </a:lnTo>
                  <a:lnTo>
                    <a:pt x="1151" y="536"/>
                  </a:lnTo>
                  <a:lnTo>
                    <a:pt x="1151" y="526"/>
                  </a:lnTo>
                  <a:lnTo>
                    <a:pt x="1152" y="518"/>
                  </a:lnTo>
                  <a:lnTo>
                    <a:pt x="1152" y="512"/>
                  </a:lnTo>
                  <a:lnTo>
                    <a:pt x="1152" y="501"/>
                  </a:lnTo>
                  <a:lnTo>
                    <a:pt x="1152" y="492"/>
                  </a:lnTo>
                  <a:lnTo>
                    <a:pt x="1151" y="482"/>
                  </a:lnTo>
                  <a:lnTo>
                    <a:pt x="1149" y="474"/>
                  </a:lnTo>
                  <a:lnTo>
                    <a:pt x="1146" y="465"/>
                  </a:lnTo>
                  <a:lnTo>
                    <a:pt x="1142" y="455"/>
                  </a:lnTo>
                  <a:lnTo>
                    <a:pt x="1139" y="447"/>
                  </a:lnTo>
                  <a:lnTo>
                    <a:pt x="1133" y="438"/>
                  </a:lnTo>
                  <a:lnTo>
                    <a:pt x="1127" y="429"/>
                  </a:lnTo>
                  <a:lnTo>
                    <a:pt x="1120" y="421"/>
                  </a:lnTo>
                  <a:lnTo>
                    <a:pt x="1113" y="413"/>
                  </a:lnTo>
                  <a:lnTo>
                    <a:pt x="1105" y="406"/>
                  </a:lnTo>
                  <a:lnTo>
                    <a:pt x="1096" y="398"/>
                  </a:lnTo>
                  <a:lnTo>
                    <a:pt x="1086" y="392"/>
                  </a:lnTo>
                  <a:lnTo>
                    <a:pt x="1074" y="386"/>
                  </a:lnTo>
                  <a:lnTo>
                    <a:pt x="1063" y="381"/>
                  </a:lnTo>
                  <a:lnTo>
                    <a:pt x="1050" y="3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3"/>
            <p:cNvSpPr>
              <a:spLocks noEditPoints="1"/>
            </p:cNvSpPr>
            <p:nvPr/>
          </p:nvSpPr>
          <p:spPr bwMode="auto">
            <a:xfrm>
              <a:off x="8128794" y="2189559"/>
              <a:ext cx="42863" cy="42863"/>
            </a:xfrm>
            <a:custGeom>
              <a:avLst/>
              <a:gdLst>
                <a:gd name="T0" fmla="*/ 50 w 108"/>
                <a:gd name="T1" fmla="*/ 71 h 108"/>
                <a:gd name="T2" fmla="*/ 44 w 108"/>
                <a:gd name="T3" fmla="*/ 69 h 108"/>
                <a:gd name="T4" fmla="*/ 39 w 108"/>
                <a:gd name="T5" fmla="*/ 64 h 108"/>
                <a:gd name="T6" fmla="*/ 36 w 108"/>
                <a:gd name="T7" fmla="*/ 57 h 108"/>
                <a:gd name="T8" fmla="*/ 36 w 108"/>
                <a:gd name="T9" fmla="*/ 50 h 108"/>
                <a:gd name="T10" fmla="*/ 39 w 108"/>
                <a:gd name="T11" fmla="*/ 44 h 108"/>
                <a:gd name="T12" fmla="*/ 44 w 108"/>
                <a:gd name="T13" fmla="*/ 39 h 108"/>
                <a:gd name="T14" fmla="*/ 50 w 108"/>
                <a:gd name="T15" fmla="*/ 37 h 108"/>
                <a:gd name="T16" fmla="*/ 58 w 108"/>
                <a:gd name="T17" fmla="*/ 37 h 108"/>
                <a:gd name="T18" fmla="*/ 64 w 108"/>
                <a:gd name="T19" fmla="*/ 39 h 108"/>
                <a:gd name="T20" fmla="*/ 69 w 108"/>
                <a:gd name="T21" fmla="*/ 44 h 108"/>
                <a:gd name="T22" fmla="*/ 72 w 108"/>
                <a:gd name="T23" fmla="*/ 50 h 108"/>
                <a:gd name="T24" fmla="*/ 72 w 108"/>
                <a:gd name="T25" fmla="*/ 57 h 108"/>
                <a:gd name="T26" fmla="*/ 69 w 108"/>
                <a:gd name="T27" fmla="*/ 64 h 108"/>
                <a:gd name="T28" fmla="*/ 64 w 108"/>
                <a:gd name="T29" fmla="*/ 69 h 108"/>
                <a:gd name="T30" fmla="*/ 58 w 108"/>
                <a:gd name="T31" fmla="*/ 71 h 108"/>
                <a:gd name="T32" fmla="*/ 54 w 108"/>
                <a:gd name="T33" fmla="*/ 71 h 108"/>
                <a:gd name="T34" fmla="*/ 48 w 108"/>
                <a:gd name="T35" fmla="*/ 0 h 108"/>
                <a:gd name="T36" fmla="*/ 38 w 108"/>
                <a:gd name="T37" fmla="*/ 2 h 108"/>
                <a:gd name="T38" fmla="*/ 24 w 108"/>
                <a:gd name="T39" fmla="*/ 9 h 108"/>
                <a:gd name="T40" fmla="*/ 9 w 108"/>
                <a:gd name="T41" fmla="*/ 24 h 108"/>
                <a:gd name="T42" fmla="*/ 3 w 108"/>
                <a:gd name="T43" fmla="*/ 38 h 108"/>
                <a:gd name="T44" fmla="*/ 0 w 108"/>
                <a:gd name="T45" fmla="*/ 49 h 108"/>
                <a:gd name="T46" fmla="*/ 0 w 108"/>
                <a:gd name="T47" fmla="*/ 59 h 108"/>
                <a:gd name="T48" fmla="*/ 3 w 108"/>
                <a:gd name="T49" fmla="*/ 70 h 108"/>
                <a:gd name="T50" fmla="*/ 9 w 108"/>
                <a:gd name="T51" fmla="*/ 84 h 108"/>
                <a:gd name="T52" fmla="*/ 24 w 108"/>
                <a:gd name="T53" fmla="*/ 98 h 108"/>
                <a:gd name="T54" fmla="*/ 38 w 108"/>
                <a:gd name="T55" fmla="*/ 106 h 108"/>
                <a:gd name="T56" fmla="*/ 48 w 108"/>
                <a:gd name="T57" fmla="*/ 108 h 108"/>
                <a:gd name="T58" fmla="*/ 60 w 108"/>
                <a:gd name="T59" fmla="*/ 108 h 108"/>
                <a:gd name="T60" fmla="*/ 70 w 108"/>
                <a:gd name="T61" fmla="*/ 106 h 108"/>
                <a:gd name="T62" fmla="*/ 84 w 108"/>
                <a:gd name="T63" fmla="*/ 98 h 108"/>
                <a:gd name="T64" fmla="*/ 99 w 108"/>
                <a:gd name="T65" fmla="*/ 84 h 108"/>
                <a:gd name="T66" fmla="*/ 105 w 108"/>
                <a:gd name="T67" fmla="*/ 70 h 108"/>
                <a:gd name="T68" fmla="*/ 107 w 108"/>
                <a:gd name="T69" fmla="*/ 59 h 108"/>
                <a:gd name="T70" fmla="*/ 107 w 108"/>
                <a:gd name="T71" fmla="*/ 49 h 108"/>
                <a:gd name="T72" fmla="*/ 105 w 108"/>
                <a:gd name="T73" fmla="*/ 38 h 108"/>
                <a:gd name="T74" fmla="*/ 99 w 108"/>
                <a:gd name="T75" fmla="*/ 24 h 108"/>
                <a:gd name="T76" fmla="*/ 84 w 108"/>
                <a:gd name="T77" fmla="*/ 9 h 108"/>
                <a:gd name="T78" fmla="*/ 70 w 108"/>
                <a:gd name="T79" fmla="*/ 2 h 108"/>
                <a:gd name="T80" fmla="*/ 60 w 108"/>
                <a:gd name="T8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 h="108">
                  <a:moveTo>
                    <a:pt x="54" y="71"/>
                  </a:moveTo>
                  <a:lnTo>
                    <a:pt x="50" y="71"/>
                  </a:lnTo>
                  <a:lnTo>
                    <a:pt x="47" y="70"/>
                  </a:lnTo>
                  <a:lnTo>
                    <a:pt x="44" y="69"/>
                  </a:lnTo>
                  <a:lnTo>
                    <a:pt x="42" y="67"/>
                  </a:lnTo>
                  <a:lnTo>
                    <a:pt x="39" y="64"/>
                  </a:lnTo>
                  <a:lnTo>
                    <a:pt x="37" y="60"/>
                  </a:lnTo>
                  <a:lnTo>
                    <a:pt x="36" y="57"/>
                  </a:lnTo>
                  <a:lnTo>
                    <a:pt x="36" y="54"/>
                  </a:lnTo>
                  <a:lnTo>
                    <a:pt x="36" y="50"/>
                  </a:lnTo>
                  <a:lnTo>
                    <a:pt x="37" y="46"/>
                  </a:lnTo>
                  <a:lnTo>
                    <a:pt x="39" y="44"/>
                  </a:lnTo>
                  <a:lnTo>
                    <a:pt x="42" y="41"/>
                  </a:lnTo>
                  <a:lnTo>
                    <a:pt x="44" y="39"/>
                  </a:lnTo>
                  <a:lnTo>
                    <a:pt x="47" y="37"/>
                  </a:lnTo>
                  <a:lnTo>
                    <a:pt x="50" y="37"/>
                  </a:lnTo>
                  <a:lnTo>
                    <a:pt x="54" y="36"/>
                  </a:lnTo>
                  <a:lnTo>
                    <a:pt x="58" y="37"/>
                  </a:lnTo>
                  <a:lnTo>
                    <a:pt x="61" y="37"/>
                  </a:lnTo>
                  <a:lnTo>
                    <a:pt x="64" y="39"/>
                  </a:lnTo>
                  <a:lnTo>
                    <a:pt x="66" y="41"/>
                  </a:lnTo>
                  <a:lnTo>
                    <a:pt x="69" y="44"/>
                  </a:lnTo>
                  <a:lnTo>
                    <a:pt x="71" y="46"/>
                  </a:lnTo>
                  <a:lnTo>
                    <a:pt x="72" y="50"/>
                  </a:lnTo>
                  <a:lnTo>
                    <a:pt x="72" y="54"/>
                  </a:lnTo>
                  <a:lnTo>
                    <a:pt x="72" y="57"/>
                  </a:lnTo>
                  <a:lnTo>
                    <a:pt x="71" y="60"/>
                  </a:lnTo>
                  <a:lnTo>
                    <a:pt x="69" y="64"/>
                  </a:lnTo>
                  <a:lnTo>
                    <a:pt x="66" y="67"/>
                  </a:lnTo>
                  <a:lnTo>
                    <a:pt x="64" y="69"/>
                  </a:lnTo>
                  <a:lnTo>
                    <a:pt x="61" y="70"/>
                  </a:lnTo>
                  <a:lnTo>
                    <a:pt x="58" y="71"/>
                  </a:lnTo>
                  <a:lnTo>
                    <a:pt x="54" y="71"/>
                  </a:lnTo>
                  <a:lnTo>
                    <a:pt x="54" y="71"/>
                  </a:lnTo>
                  <a:close/>
                  <a:moveTo>
                    <a:pt x="54" y="0"/>
                  </a:moveTo>
                  <a:lnTo>
                    <a:pt x="48" y="0"/>
                  </a:lnTo>
                  <a:lnTo>
                    <a:pt x="43" y="1"/>
                  </a:lnTo>
                  <a:lnTo>
                    <a:pt x="38" y="2"/>
                  </a:lnTo>
                  <a:lnTo>
                    <a:pt x="33" y="4"/>
                  </a:lnTo>
                  <a:lnTo>
                    <a:pt x="24" y="9"/>
                  </a:lnTo>
                  <a:lnTo>
                    <a:pt x="16" y="15"/>
                  </a:lnTo>
                  <a:lnTo>
                    <a:pt x="9" y="24"/>
                  </a:lnTo>
                  <a:lnTo>
                    <a:pt x="4" y="32"/>
                  </a:lnTo>
                  <a:lnTo>
                    <a:pt x="3" y="38"/>
                  </a:lnTo>
                  <a:lnTo>
                    <a:pt x="2" y="43"/>
                  </a:lnTo>
                  <a:lnTo>
                    <a:pt x="0" y="49"/>
                  </a:lnTo>
                  <a:lnTo>
                    <a:pt x="0" y="54"/>
                  </a:lnTo>
                  <a:lnTo>
                    <a:pt x="0" y="59"/>
                  </a:lnTo>
                  <a:lnTo>
                    <a:pt x="2" y="65"/>
                  </a:lnTo>
                  <a:lnTo>
                    <a:pt x="3" y="70"/>
                  </a:lnTo>
                  <a:lnTo>
                    <a:pt x="4" y="75"/>
                  </a:lnTo>
                  <a:lnTo>
                    <a:pt x="9" y="84"/>
                  </a:lnTo>
                  <a:lnTo>
                    <a:pt x="16" y="92"/>
                  </a:lnTo>
                  <a:lnTo>
                    <a:pt x="24" y="98"/>
                  </a:lnTo>
                  <a:lnTo>
                    <a:pt x="33" y="104"/>
                  </a:lnTo>
                  <a:lnTo>
                    <a:pt x="38" y="106"/>
                  </a:lnTo>
                  <a:lnTo>
                    <a:pt x="43" y="107"/>
                  </a:lnTo>
                  <a:lnTo>
                    <a:pt x="48" y="108"/>
                  </a:lnTo>
                  <a:lnTo>
                    <a:pt x="54" y="108"/>
                  </a:lnTo>
                  <a:lnTo>
                    <a:pt x="60" y="108"/>
                  </a:lnTo>
                  <a:lnTo>
                    <a:pt x="65" y="107"/>
                  </a:lnTo>
                  <a:lnTo>
                    <a:pt x="70" y="106"/>
                  </a:lnTo>
                  <a:lnTo>
                    <a:pt x="75" y="104"/>
                  </a:lnTo>
                  <a:lnTo>
                    <a:pt x="84" y="98"/>
                  </a:lnTo>
                  <a:lnTo>
                    <a:pt x="92" y="92"/>
                  </a:lnTo>
                  <a:lnTo>
                    <a:pt x="99" y="84"/>
                  </a:lnTo>
                  <a:lnTo>
                    <a:pt x="104" y="75"/>
                  </a:lnTo>
                  <a:lnTo>
                    <a:pt x="105" y="70"/>
                  </a:lnTo>
                  <a:lnTo>
                    <a:pt x="107" y="65"/>
                  </a:lnTo>
                  <a:lnTo>
                    <a:pt x="107" y="59"/>
                  </a:lnTo>
                  <a:lnTo>
                    <a:pt x="108" y="54"/>
                  </a:lnTo>
                  <a:lnTo>
                    <a:pt x="107" y="49"/>
                  </a:lnTo>
                  <a:lnTo>
                    <a:pt x="107" y="43"/>
                  </a:lnTo>
                  <a:lnTo>
                    <a:pt x="105" y="38"/>
                  </a:lnTo>
                  <a:lnTo>
                    <a:pt x="104" y="32"/>
                  </a:lnTo>
                  <a:lnTo>
                    <a:pt x="99" y="24"/>
                  </a:lnTo>
                  <a:lnTo>
                    <a:pt x="92" y="15"/>
                  </a:lnTo>
                  <a:lnTo>
                    <a:pt x="84" y="9"/>
                  </a:lnTo>
                  <a:lnTo>
                    <a:pt x="75" y="4"/>
                  </a:lnTo>
                  <a:lnTo>
                    <a:pt x="70" y="2"/>
                  </a:lnTo>
                  <a:lnTo>
                    <a:pt x="65" y="1"/>
                  </a:lnTo>
                  <a:lnTo>
                    <a:pt x="60" y="0"/>
                  </a:lnTo>
                  <a:lnTo>
                    <a:pt x="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p:cNvGrpSpPr/>
          <p:nvPr/>
        </p:nvGrpSpPr>
        <p:grpSpPr>
          <a:xfrm>
            <a:off x="6928461" y="4247162"/>
            <a:ext cx="195171" cy="283885"/>
            <a:chOff x="3720306" y="3668315"/>
            <a:chExt cx="314325" cy="457200"/>
          </a:xfrm>
          <a:solidFill>
            <a:schemeClr val="tx1">
              <a:lumMod val="75000"/>
              <a:lumOff val="25000"/>
            </a:schemeClr>
          </a:solidFill>
        </p:grpSpPr>
        <p:sp>
          <p:nvSpPr>
            <p:cNvPr id="39" name="Freeform 114"/>
            <p:cNvSpPr>
              <a:spLocks noEditPoints="1"/>
            </p:cNvSpPr>
            <p:nvPr/>
          </p:nvSpPr>
          <p:spPr bwMode="auto">
            <a:xfrm>
              <a:off x="3720306" y="3668315"/>
              <a:ext cx="314325" cy="457200"/>
            </a:xfrm>
            <a:custGeom>
              <a:avLst/>
              <a:gdLst>
                <a:gd name="T0" fmla="*/ 184 w 793"/>
                <a:gd name="T1" fmla="*/ 669 h 1152"/>
                <a:gd name="T2" fmla="*/ 103 w 793"/>
                <a:gd name="T3" fmla="*/ 514 h 1152"/>
                <a:gd name="T4" fmla="*/ 78 w 793"/>
                <a:gd name="T5" fmla="*/ 439 h 1152"/>
                <a:gd name="T6" fmla="*/ 75 w 793"/>
                <a:gd name="T7" fmla="*/ 363 h 1152"/>
                <a:gd name="T8" fmla="*/ 92 w 793"/>
                <a:gd name="T9" fmla="*/ 284 h 1152"/>
                <a:gd name="T10" fmla="*/ 128 w 793"/>
                <a:gd name="T11" fmla="*/ 215 h 1152"/>
                <a:gd name="T12" fmla="*/ 180 w 793"/>
                <a:gd name="T13" fmla="*/ 156 h 1152"/>
                <a:gd name="T14" fmla="*/ 242 w 793"/>
                <a:gd name="T15" fmla="*/ 112 h 1152"/>
                <a:gd name="T16" fmla="*/ 316 w 793"/>
                <a:gd name="T17" fmla="*/ 82 h 1152"/>
                <a:gd name="T18" fmla="*/ 397 w 793"/>
                <a:gd name="T19" fmla="*/ 72 h 1152"/>
                <a:gd name="T20" fmla="*/ 478 w 793"/>
                <a:gd name="T21" fmla="*/ 82 h 1152"/>
                <a:gd name="T22" fmla="*/ 551 w 793"/>
                <a:gd name="T23" fmla="*/ 112 h 1152"/>
                <a:gd name="T24" fmla="*/ 615 w 793"/>
                <a:gd name="T25" fmla="*/ 156 h 1152"/>
                <a:gd name="T26" fmla="*/ 666 w 793"/>
                <a:gd name="T27" fmla="*/ 215 h 1152"/>
                <a:gd name="T28" fmla="*/ 701 w 793"/>
                <a:gd name="T29" fmla="*/ 284 h 1152"/>
                <a:gd name="T30" fmla="*/ 720 w 793"/>
                <a:gd name="T31" fmla="*/ 363 h 1152"/>
                <a:gd name="T32" fmla="*/ 717 w 793"/>
                <a:gd name="T33" fmla="*/ 438 h 1152"/>
                <a:gd name="T34" fmla="*/ 691 w 793"/>
                <a:gd name="T35" fmla="*/ 513 h 1152"/>
                <a:gd name="T36" fmla="*/ 610 w 793"/>
                <a:gd name="T37" fmla="*/ 669 h 1152"/>
                <a:gd name="T38" fmla="*/ 397 w 793"/>
                <a:gd name="T39" fmla="*/ 1080 h 1152"/>
                <a:gd name="T40" fmla="*/ 346 w 793"/>
                <a:gd name="T41" fmla="*/ 1067 h 1152"/>
                <a:gd name="T42" fmla="*/ 469 w 793"/>
                <a:gd name="T43" fmla="*/ 1036 h 1152"/>
                <a:gd name="T44" fmla="*/ 445 w 793"/>
                <a:gd name="T45" fmla="*/ 1071 h 1152"/>
                <a:gd name="T46" fmla="*/ 412 w 793"/>
                <a:gd name="T47" fmla="*/ 1079 h 1152"/>
                <a:gd name="T48" fmla="*/ 263 w 793"/>
                <a:gd name="T49" fmla="*/ 846 h 1152"/>
                <a:gd name="T50" fmla="*/ 528 w 793"/>
                <a:gd name="T51" fmla="*/ 857 h 1152"/>
                <a:gd name="T52" fmla="*/ 307 w 793"/>
                <a:gd name="T53" fmla="*/ 986 h 1152"/>
                <a:gd name="T54" fmla="*/ 290 w 793"/>
                <a:gd name="T55" fmla="*/ 931 h 1152"/>
                <a:gd name="T56" fmla="*/ 496 w 793"/>
                <a:gd name="T57" fmla="*/ 958 h 1152"/>
                <a:gd name="T58" fmla="*/ 376 w 793"/>
                <a:gd name="T59" fmla="*/ 0 h 1152"/>
                <a:gd name="T60" fmla="*/ 279 w 793"/>
                <a:gd name="T61" fmla="*/ 18 h 1152"/>
                <a:gd name="T62" fmla="*/ 192 w 793"/>
                <a:gd name="T63" fmla="*/ 58 h 1152"/>
                <a:gd name="T64" fmla="*/ 117 w 793"/>
                <a:gd name="T65" fmla="*/ 116 h 1152"/>
                <a:gd name="T66" fmla="*/ 59 w 793"/>
                <a:gd name="T67" fmla="*/ 190 h 1152"/>
                <a:gd name="T68" fmla="*/ 19 w 793"/>
                <a:gd name="T69" fmla="*/ 278 h 1152"/>
                <a:gd name="T70" fmla="*/ 2 w 793"/>
                <a:gd name="T71" fmla="*/ 375 h 1152"/>
                <a:gd name="T72" fmla="*/ 7 w 793"/>
                <a:gd name="T73" fmla="*/ 451 h 1152"/>
                <a:gd name="T74" fmla="*/ 59 w 793"/>
                <a:gd name="T75" fmla="*/ 589 h 1152"/>
                <a:gd name="T76" fmla="*/ 160 w 793"/>
                <a:gd name="T77" fmla="*/ 778 h 1152"/>
                <a:gd name="T78" fmla="*/ 234 w 793"/>
                <a:gd name="T79" fmla="*/ 994 h 1152"/>
                <a:gd name="T80" fmla="*/ 270 w 793"/>
                <a:gd name="T81" fmla="*/ 1086 h 1152"/>
                <a:gd name="T82" fmla="*/ 302 w 793"/>
                <a:gd name="T83" fmla="*/ 1125 h 1152"/>
                <a:gd name="T84" fmla="*/ 347 w 793"/>
                <a:gd name="T85" fmla="*/ 1146 h 1152"/>
                <a:gd name="T86" fmla="*/ 411 w 793"/>
                <a:gd name="T87" fmla="*/ 1152 h 1152"/>
                <a:gd name="T88" fmla="*/ 467 w 793"/>
                <a:gd name="T89" fmla="*/ 1140 h 1152"/>
                <a:gd name="T90" fmla="*/ 507 w 793"/>
                <a:gd name="T91" fmla="*/ 1111 h 1152"/>
                <a:gd name="T92" fmla="*/ 535 w 793"/>
                <a:gd name="T93" fmla="*/ 1066 h 1152"/>
                <a:gd name="T94" fmla="*/ 578 w 793"/>
                <a:gd name="T95" fmla="*/ 935 h 1152"/>
                <a:gd name="T96" fmla="*/ 633 w 793"/>
                <a:gd name="T97" fmla="*/ 779 h 1152"/>
                <a:gd name="T98" fmla="*/ 735 w 793"/>
                <a:gd name="T99" fmla="*/ 589 h 1152"/>
                <a:gd name="T100" fmla="*/ 787 w 793"/>
                <a:gd name="T101" fmla="*/ 451 h 1152"/>
                <a:gd name="T102" fmla="*/ 792 w 793"/>
                <a:gd name="T103" fmla="*/ 375 h 1152"/>
                <a:gd name="T104" fmla="*/ 775 w 793"/>
                <a:gd name="T105" fmla="*/ 278 h 1152"/>
                <a:gd name="T106" fmla="*/ 736 w 793"/>
                <a:gd name="T107" fmla="*/ 190 h 1152"/>
                <a:gd name="T108" fmla="*/ 677 w 793"/>
                <a:gd name="T109" fmla="*/ 116 h 1152"/>
                <a:gd name="T110" fmla="*/ 602 w 793"/>
                <a:gd name="T111" fmla="*/ 58 h 1152"/>
                <a:gd name="T112" fmla="*/ 515 w 793"/>
                <a:gd name="T113" fmla="*/ 18 h 1152"/>
                <a:gd name="T114" fmla="*/ 417 w 793"/>
                <a:gd name="T115"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3" h="1152">
                  <a:moveTo>
                    <a:pt x="565" y="756"/>
                  </a:moveTo>
                  <a:lnTo>
                    <a:pt x="229" y="756"/>
                  </a:lnTo>
                  <a:lnTo>
                    <a:pt x="215" y="727"/>
                  </a:lnTo>
                  <a:lnTo>
                    <a:pt x="200" y="698"/>
                  </a:lnTo>
                  <a:lnTo>
                    <a:pt x="184" y="669"/>
                  </a:lnTo>
                  <a:lnTo>
                    <a:pt x="169" y="640"/>
                  </a:lnTo>
                  <a:lnTo>
                    <a:pt x="151" y="608"/>
                  </a:lnTo>
                  <a:lnTo>
                    <a:pt x="133" y="577"/>
                  </a:lnTo>
                  <a:lnTo>
                    <a:pt x="117" y="545"/>
                  </a:lnTo>
                  <a:lnTo>
                    <a:pt x="103" y="514"/>
                  </a:lnTo>
                  <a:lnTo>
                    <a:pt x="97" y="498"/>
                  </a:lnTo>
                  <a:lnTo>
                    <a:pt x="91" y="483"/>
                  </a:lnTo>
                  <a:lnTo>
                    <a:pt x="86" y="468"/>
                  </a:lnTo>
                  <a:lnTo>
                    <a:pt x="81" y="453"/>
                  </a:lnTo>
                  <a:lnTo>
                    <a:pt x="78" y="439"/>
                  </a:lnTo>
                  <a:lnTo>
                    <a:pt x="75" y="424"/>
                  </a:lnTo>
                  <a:lnTo>
                    <a:pt x="74" y="410"/>
                  </a:lnTo>
                  <a:lnTo>
                    <a:pt x="73" y="396"/>
                  </a:lnTo>
                  <a:lnTo>
                    <a:pt x="74" y="379"/>
                  </a:lnTo>
                  <a:lnTo>
                    <a:pt x="75" y="363"/>
                  </a:lnTo>
                  <a:lnTo>
                    <a:pt x="77" y="347"/>
                  </a:lnTo>
                  <a:lnTo>
                    <a:pt x="79" y="331"/>
                  </a:lnTo>
                  <a:lnTo>
                    <a:pt x="84" y="315"/>
                  </a:lnTo>
                  <a:lnTo>
                    <a:pt x="88" y="300"/>
                  </a:lnTo>
                  <a:lnTo>
                    <a:pt x="92" y="284"/>
                  </a:lnTo>
                  <a:lnTo>
                    <a:pt x="99" y="270"/>
                  </a:lnTo>
                  <a:lnTo>
                    <a:pt x="105" y="255"/>
                  </a:lnTo>
                  <a:lnTo>
                    <a:pt x="112" y="241"/>
                  </a:lnTo>
                  <a:lnTo>
                    <a:pt x="120" y="228"/>
                  </a:lnTo>
                  <a:lnTo>
                    <a:pt x="128" y="215"/>
                  </a:lnTo>
                  <a:lnTo>
                    <a:pt x="138" y="202"/>
                  </a:lnTo>
                  <a:lnTo>
                    <a:pt x="147" y="190"/>
                  </a:lnTo>
                  <a:lnTo>
                    <a:pt x="157" y="179"/>
                  </a:lnTo>
                  <a:lnTo>
                    <a:pt x="168" y="167"/>
                  </a:lnTo>
                  <a:lnTo>
                    <a:pt x="180" y="156"/>
                  </a:lnTo>
                  <a:lnTo>
                    <a:pt x="191" y="146"/>
                  </a:lnTo>
                  <a:lnTo>
                    <a:pt x="204" y="136"/>
                  </a:lnTo>
                  <a:lnTo>
                    <a:pt x="216" y="128"/>
                  </a:lnTo>
                  <a:lnTo>
                    <a:pt x="229" y="119"/>
                  </a:lnTo>
                  <a:lnTo>
                    <a:pt x="242" y="112"/>
                  </a:lnTo>
                  <a:lnTo>
                    <a:pt x="256" y="104"/>
                  </a:lnTo>
                  <a:lnTo>
                    <a:pt x="270" y="98"/>
                  </a:lnTo>
                  <a:lnTo>
                    <a:pt x="286" y="91"/>
                  </a:lnTo>
                  <a:lnTo>
                    <a:pt x="301" y="87"/>
                  </a:lnTo>
                  <a:lnTo>
                    <a:pt x="316" y="82"/>
                  </a:lnTo>
                  <a:lnTo>
                    <a:pt x="332" y="78"/>
                  </a:lnTo>
                  <a:lnTo>
                    <a:pt x="348" y="76"/>
                  </a:lnTo>
                  <a:lnTo>
                    <a:pt x="364" y="74"/>
                  </a:lnTo>
                  <a:lnTo>
                    <a:pt x="381" y="73"/>
                  </a:lnTo>
                  <a:lnTo>
                    <a:pt x="397" y="72"/>
                  </a:lnTo>
                  <a:lnTo>
                    <a:pt x="414" y="73"/>
                  </a:lnTo>
                  <a:lnTo>
                    <a:pt x="430" y="74"/>
                  </a:lnTo>
                  <a:lnTo>
                    <a:pt x="447" y="76"/>
                  </a:lnTo>
                  <a:lnTo>
                    <a:pt x="463" y="78"/>
                  </a:lnTo>
                  <a:lnTo>
                    <a:pt x="478" y="82"/>
                  </a:lnTo>
                  <a:lnTo>
                    <a:pt x="493" y="87"/>
                  </a:lnTo>
                  <a:lnTo>
                    <a:pt x="508" y="91"/>
                  </a:lnTo>
                  <a:lnTo>
                    <a:pt x="523" y="98"/>
                  </a:lnTo>
                  <a:lnTo>
                    <a:pt x="537" y="104"/>
                  </a:lnTo>
                  <a:lnTo>
                    <a:pt x="551" y="112"/>
                  </a:lnTo>
                  <a:lnTo>
                    <a:pt x="565" y="119"/>
                  </a:lnTo>
                  <a:lnTo>
                    <a:pt x="578" y="128"/>
                  </a:lnTo>
                  <a:lnTo>
                    <a:pt x="591" y="136"/>
                  </a:lnTo>
                  <a:lnTo>
                    <a:pt x="603" y="146"/>
                  </a:lnTo>
                  <a:lnTo>
                    <a:pt x="615" y="156"/>
                  </a:lnTo>
                  <a:lnTo>
                    <a:pt x="626" y="167"/>
                  </a:lnTo>
                  <a:lnTo>
                    <a:pt x="637" y="179"/>
                  </a:lnTo>
                  <a:lnTo>
                    <a:pt x="647" y="190"/>
                  </a:lnTo>
                  <a:lnTo>
                    <a:pt x="656" y="202"/>
                  </a:lnTo>
                  <a:lnTo>
                    <a:pt x="666" y="215"/>
                  </a:lnTo>
                  <a:lnTo>
                    <a:pt x="674" y="228"/>
                  </a:lnTo>
                  <a:lnTo>
                    <a:pt x="682" y="241"/>
                  </a:lnTo>
                  <a:lnTo>
                    <a:pt x="688" y="255"/>
                  </a:lnTo>
                  <a:lnTo>
                    <a:pt x="696" y="270"/>
                  </a:lnTo>
                  <a:lnTo>
                    <a:pt x="701" y="284"/>
                  </a:lnTo>
                  <a:lnTo>
                    <a:pt x="707" y="300"/>
                  </a:lnTo>
                  <a:lnTo>
                    <a:pt x="711" y="315"/>
                  </a:lnTo>
                  <a:lnTo>
                    <a:pt x="714" y="331"/>
                  </a:lnTo>
                  <a:lnTo>
                    <a:pt x="718" y="347"/>
                  </a:lnTo>
                  <a:lnTo>
                    <a:pt x="720" y="363"/>
                  </a:lnTo>
                  <a:lnTo>
                    <a:pt x="721" y="379"/>
                  </a:lnTo>
                  <a:lnTo>
                    <a:pt x="721" y="396"/>
                  </a:lnTo>
                  <a:lnTo>
                    <a:pt x="721" y="410"/>
                  </a:lnTo>
                  <a:lnTo>
                    <a:pt x="719" y="424"/>
                  </a:lnTo>
                  <a:lnTo>
                    <a:pt x="717" y="438"/>
                  </a:lnTo>
                  <a:lnTo>
                    <a:pt x="712" y="453"/>
                  </a:lnTo>
                  <a:lnTo>
                    <a:pt x="708" y="468"/>
                  </a:lnTo>
                  <a:lnTo>
                    <a:pt x="704" y="483"/>
                  </a:lnTo>
                  <a:lnTo>
                    <a:pt x="697" y="498"/>
                  </a:lnTo>
                  <a:lnTo>
                    <a:pt x="691" y="513"/>
                  </a:lnTo>
                  <a:lnTo>
                    <a:pt x="677" y="545"/>
                  </a:lnTo>
                  <a:lnTo>
                    <a:pt x="660" y="577"/>
                  </a:lnTo>
                  <a:lnTo>
                    <a:pt x="643" y="608"/>
                  </a:lnTo>
                  <a:lnTo>
                    <a:pt x="626" y="641"/>
                  </a:lnTo>
                  <a:lnTo>
                    <a:pt x="610" y="669"/>
                  </a:lnTo>
                  <a:lnTo>
                    <a:pt x="594" y="698"/>
                  </a:lnTo>
                  <a:lnTo>
                    <a:pt x="579" y="727"/>
                  </a:lnTo>
                  <a:lnTo>
                    <a:pt x="565" y="756"/>
                  </a:lnTo>
                  <a:lnTo>
                    <a:pt x="565" y="756"/>
                  </a:lnTo>
                  <a:close/>
                  <a:moveTo>
                    <a:pt x="397" y="1080"/>
                  </a:moveTo>
                  <a:lnTo>
                    <a:pt x="384" y="1079"/>
                  </a:lnTo>
                  <a:lnTo>
                    <a:pt x="373" y="1078"/>
                  </a:lnTo>
                  <a:lnTo>
                    <a:pt x="363" y="1076"/>
                  </a:lnTo>
                  <a:lnTo>
                    <a:pt x="355" y="1073"/>
                  </a:lnTo>
                  <a:lnTo>
                    <a:pt x="346" y="1067"/>
                  </a:lnTo>
                  <a:lnTo>
                    <a:pt x="339" y="1059"/>
                  </a:lnTo>
                  <a:lnTo>
                    <a:pt x="332" y="1049"/>
                  </a:lnTo>
                  <a:lnTo>
                    <a:pt x="326" y="1035"/>
                  </a:lnTo>
                  <a:lnTo>
                    <a:pt x="478" y="1016"/>
                  </a:lnTo>
                  <a:lnTo>
                    <a:pt x="469" y="1036"/>
                  </a:lnTo>
                  <a:lnTo>
                    <a:pt x="462" y="1051"/>
                  </a:lnTo>
                  <a:lnTo>
                    <a:pt x="457" y="1057"/>
                  </a:lnTo>
                  <a:lnTo>
                    <a:pt x="454" y="1062"/>
                  </a:lnTo>
                  <a:lnTo>
                    <a:pt x="450" y="1066"/>
                  </a:lnTo>
                  <a:lnTo>
                    <a:pt x="445" y="1071"/>
                  </a:lnTo>
                  <a:lnTo>
                    <a:pt x="440" y="1073"/>
                  </a:lnTo>
                  <a:lnTo>
                    <a:pt x="436" y="1075"/>
                  </a:lnTo>
                  <a:lnTo>
                    <a:pt x="430" y="1077"/>
                  </a:lnTo>
                  <a:lnTo>
                    <a:pt x="425" y="1078"/>
                  </a:lnTo>
                  <a:lnTo>
                    <a:pt x="412" y="1079"/>
                  </a:lnTo>
                  <a:lnTo>
                    <a:pt x="397" y="1080"/>
                  </a:lnTo>
                  <a:close/>
                  <a:moveTo>
                    <a:pt x="279" y="897"/>
                  </a:moveTo>
                  <a:lnTo>
                    <a:pt x="275" y="881"/>
                  </a:lnTo>
                  <a:lnTo>
                    <a:pt x="269" y="863"/>
                  </a:lnTo>
                  <a:lnTo>
                    <a:pt x="263" y="846"/>
                  </a:lnTo>
                  <a:lnTo>
                    <a:pt x="258" y="828"/>
                  </a:lnTo>
                  <a:lnTo>
                    <a:pt x="537" y="828"/>
                  </a:lnTo>
                  <a:lnTo>
                    <a:pt x="534" y="837"/>
                  </a:lnTo>
                  <a:lnTo>
                    <a:pt x="531" y="847"/>
                  </a:lnTo>
                  <a:lnTo>
                    <a:pt x="528" y="857"/>
                  </a:lnTo>
                  <a:lnTo>
                    <a:pt x="524" y="867"/>
                  </a:lnTo>
                  <a:lnTo>
                    <a:pt x="279" y="897"/>
                  </a:lnTo>
                  <a:close/>
                  <a:moveTo>
                    <a:pt x="491" y="978"/>
                  </a:moveTo>
                  <a:lnTo>
                    <a:pt x="312" y="1000"/>
                  </a:lnTo>
                  <a:lnTo>
                    <a:pt x="307" y="986"/>
                  </a:lnTo>
                  <a:lnTo>
                    <a:pt x="302" y="970"/>
                  </a:lnTo>
                  <a:lnTo>
                    <a:pt x="296" y="952"/>
                  </a:lnTo>
                  <a:lnTo>
                    <a:pt x="290" y="932"/>
                  </a:lnTo>
                  <a:lnTo>
                    <a:pt x="290" y="931"/>
                  </a:lnTo>
                  <a:lnTo>
                    <a:pt x="290" y="931"/>
                  </a:lnTo>
                  <a:lnTo>
                    <a:pt x="512" y="903"/>
                  </a:lnTo>
                  <a:lnTo>
                    <a:pt x="508" y="919"/>
                  </a:lnTo>
                  <a:lnTo>
                    <a:pt x="504" y="936"/>
                  </a:lnTo>
                  <a:lnTo>
                    <a:pt x="499" y="946"/>
                  </a:lnTo>
                  <a:lnTo>
                    <a:pt x="496" y="958"/>
                  </a:lnTo>
                  <a:lnTo>
                    <a:pt x="493" y="968"/>
                  </a:lnTo>
                  <a:lnTo>
                    <a:pt x="491" y="978"/>
                  </a:lnTo>
                  <a:lnTo>
                    <a:pt x="491" y="978"/>
                  </a:lnTo>
                  <a:close/>
                  <a:moveTo>
                    <a:pt x="397" y="0"/>
                  </a:moveTo>
                  <a:lnTo>
                    <a:pt x="376" y="0"/>
                  </a:lnTo>
                  <a:lnTo>
                    <a:pt x="357" y="1"/>
                  </a:lnTo>
                  <a:lnTo>
                    <a:pt x="336" y="5"/>
                  </a:lnTo>
                  <a:lnTo>
                    <a:pt x="317" y="8"/>
                  </a:lnTo>
                  <a:lnTo>
                    <a:pt x="299" y="12"/>
                  </a:lnTo>
                  <a:lnTo>
                    <a:pt x="279" y="18"/>
                  </a:lnTo>
                  <a:lnTo>
                    <a:pt x="261" y="24"/>
                  </a:lnTo>
                  <a:lnTo>
                    <a:pt x="242" y="31"/>
                  </a:lnTo>
                  <a:lnTo>
                    <a:pt x="225" y="39"/>
                  </a:lnTo>
                  <a:lnTo>
                    <a:pt x="208" y="48"/>
                  </a:lnTo>
                  <a:lnTo>
                    <a:pt x="192" y="58"/>
                  </a:lnTo>
                  <a:lnTo>
                    <a:pt x="175" y="67"/>
                  </a:lnTo>
                  <a:lnTo>
                    <a:pt x="160" y="78"/>
                  </a:lnTo>
                  <a:lnTo>
                    <a:pt x="145" y="90"/>
                  </a:lnTo>
                  <a:lnTo>
                    <a:pt x="131" y="103"/>
                  </a:lnTo>
                  <a:lnTo>
                    <a:pt x="117" y="116"/>
                  </a:lnTo>
                  <a:lnTo>
                    <a:pt x="104" y="130"/>
                  </a:lnTo>
                  <a:lnTo>
                    <a:pt x="91" y="144"/>
                  </a:lnTo>
                  <a:lnTo>
                    <a:pt x="79" y="159"/>
                  </a:lnTo>
                  <a:lnTo>
                    <a:pt x="69" y="174"/>
                  </a:lnTo>
                  <a:lnTo>
                    <a:pt x="59" y="190"/>
                  </a:lnTo>
                  <a:lnTo>
                    <a:pt x="49" y="207"/>
                  </a:lnTo>
                  <a:lnTo>
                    <a:pt x="40" y="224"/>
                  </a:lnTo>
                  <a:lnTo>
                    <a:pt x="32" y="242"/>
                  </a:lnTo>
                  <a:lnTo>
                    <a:pt x="25" y="260"/>
                  </a:lnTo>
                  <a:lnTo>
                    <a:pt x="19" y="278"/>
                  </a:lnTo>
                  <a:lnTo>
                    <a:pt x="13" y="297"/>
                  </a:lnTo>
                  <a:lnTo>
                    <a:pt x="9" y="316"/>
                  </a:lnTo>
                  <a:lnTo>
                    <a:pt x="6" y="335"/>
                  </a:lnTo>
                  <a:lnTo>
                    <a:pt x="3" y="356"/>
                  </a:lnTo>
                  <a:lnTo>
                    <a:pt x="2" y="375"/>
                  </a:lnTo>
                  <a:lnTo>
                    <a:pt x="0" y="396"/>
                  </a:lnTo>
                  <a:lnTo>
                    <a:pt x="2" y="410"/>
                  </a:lnTo>
                  <a:lnTo>
                    <a:pt x="3" y="424"/>
                  </a:lnTo>
                  <a:lnTo>
                    <a:pt x="5" y="437"/>
                  </a:lnTo>
                  <a:lnTo>
                    <a:pt x="7" y="451"/>
                  </a:lnTo>
                  <a:lnTo>
                    <a:pt x="13" y="479"/>
                  </a:lnTo>
                  <a:lnTo>
                    <a:pt x="22" y="506"/>
                  </a:lnTo>
                  <a:lnTo>
                    <a:pt x="33" y="534"/>
                  </a:lnTo>
                  <a:lnTo>
                    <a:pt x="46" y="561"/>
                  </a:lnTo>
                  <a:lnTo>
                    <a:pt x="59" y="589"/>
                  </a:lnTo>
                  <a:lnTo>
                    <a:pt x="74" y="617"/>
                  </a:lnTo>
                  <a:lnTo>
                    <a:pt x="103" y="671"/>
                  </a:lnTo>
                  <a:lnTo>
                    <a:pt x="133" y="725"/>
                  </a:lnTo>
                  <a:lnTo>
                    <a:pt x="147" y="752"/>
                  </a:lnTo>
                  <a:lnTo>
                    <a:pt x="160" y="778"/>
                  </a:lnTo>
                  <a:lnTo>
                    <a:pt x="172" y="804"/>
                  </a:lnTo>
                  <a:lnTo>
                    <a:pt x="182" y="830"/>
                  </a:lnTo>
                  <a:lnTo>
                    <a:pt x="206" y="901"/>
                  </a:lnTo>
                  <a:lnTo>
                    <a:pt x="225" y="965"/>
                  </a:lnTo>
                  <a:lnTo>
                    <a:pt x="234" y="994"/>
                  </a:lnTo>
                  <a:lnTo>
                    <a:pt x="242" y="1020"/>
                  </a:lnTo>
                  <a:lnTo>
                    <a:pt x="251" y="1045"/>
                  </a:lnTo>
                  <a:lnTo>
                    <a:pt x="260" y="1066"/>
                  </a:lnTo>
                  <a:lnTo>
                    <a:pt x="265" y="1076"/>
                  </a:lnTo>
                  <a:lnTo>
                    <a:pt x="270" y="1086"/>
                  </a:lnTo>
                  <a:lnTo>
                    <a:pt x="276" y="1094"/>
                  </a:lnTo>
                  <a:lnTo>
                    <a:pt x="281" y="1103"/>
                  </a:lnTo>
                  <a:lnTo>
                    <a:pt x="288" y="1111"/>
                  </a:lnTo>
                  <a:lnTo>
                    <a:pt x="295" y="1118"/>
                  </a:lnTo>
                  <a:lnTo>
                    <a:pt x="302" y="1125"/>
                  </a:lnTo>
                  <a:lnTo>
                    <a:pt x="310" y="1130"/>
                  </a:lnTo>
                  <a:lnTo>
                    <a:pt x="318" y="1135"/>
                  </a:lnTo>
                  <a:lnTo>
                    <a:pt x="328" y="1140"/>
                  </a:lnTo>
                  <a:lnTo>
                    <a:pt x="337" y="1143"/>
                  </a:lnTo>
                  <a:lnTo>
                    <a:pt x="347" y="1146"/>
                  </a:lnTo>
                  <a:lnTo>
                    <a:pt x="359" y="1148"/>
                  </a:lnTo>
                  <a:lnTo>
                    <a:pt x="371" y="1151"/>
                  </a:lnTo>
                  <a:lnTo>
                    <a:pt x="383" y="1152"/>
                  </a:lnTo>
                  <a:lnTo>
                    <a:pt x="397" y="1152"/>
                  </a:lnTo>
                  <a:lnTo>
                    <a:pt x="411" y="1152"/>
                  </a:lnTo>
                  <a:lnTo>
                    <a:pt x="424" y="1151"/>
                  </a:lnTo>
                  <a:lnTo>
                    <a:pt x="436" y="1148"/>
                  </a:lnTo>
                  <a:lnTo>
                    <a:pt x="448" y="1146"/>
                  </a:lnTo>
                  <a:lnTo>
                    <a:pt x="457" y="1143"/>
                  </a:lnTo>
                  <a:lnTo>
                    <a:pt x="467" y="1140"/>
                  </a:lnTo>
                  <a:lnTo>
                    <a:pt x="477" y="1135"/>
                  </a:lnTo>
                  <a:lnTo>
                    <a:pt x="485" y="1130"/>
                  </a:lnTo>
                  <a:lnTo>
                    <a:pt x="493" y="1125"/>
                  </a:lnTo>
                  <a:lnTo>
                    <a:pt x="501" y="1118"/>
                  </a:lnTo>
                  <a:lnTo>
                    <a:pt x="507" y="1111"/>
                  </a:lnTo>
                  <a:lnTo>
                    <a:pt x="513" y="1103"/>
                  </a:lnTo>
                  <a:lnTo>
                    <a:pt x="519" y="1095"/>
                  </a:lnTo>
                  <a:lnTo>
                    <a:pt x="524" y="1086"/>
                  </a:lnTo>
                  <a:lnTo>
                    <a:pt x="530" y="1077"/>
                  </a:lnTo>
                  <a:lnTo>
                    <a:pt x="535" y="1066"/>
                  </a:lnTo>
                  <a:lnTo>
                    <a:pt x="544" y="1045"/>
                  </a:lnTo>
                  <a:lnTo>
                    <a:pt x="552" y="1021"/>
                  </a:lnTo>
                  <a:lnTo>
                    <a:pt x="561" y="994"/>
                  </a:lnTo>
                  <a:lnTo>
                    <a:pt x="570" y="966"/>
                  </a:lnTo>
                  <a:lnTo>
                    <a:pt x="578" y="935"/>
                  </a:lnTo>
                  <a:lnTo>
                    <a:pt x="588" y="902"/>
                  </a:lnTo>
                  <a:lnTo>
                    <a:pt x="599" y="868"/>
                  </a:lnTo>
                  <a:lnTo>
                    <a:pt x="612" y="831"/>
                  </a:lnTo>
                  <a:lnTo>
                    <a:pt x="621" y="805"/>
                  </a:lnTo>
                  <a:lnTo>
                    <a:pt x="633" y="779"/>
                  </a:lnTo>
                  <a:lnTo>
                    <a:pt x="646" y="753"/>
                  </a:lnTo>
                  <a:lnTo>
                    <a:pt x="660" y="726"/>
                  </a:lnTo>
                  <a:lnTo>
                    <a:pt x="691" y="672"/>
                  </a:lnTo>
                  <a:lnTo>
                    <a:pt x="721" y="617"/>
                  </a:lnTo>
                  <a:lnTo>
                    <a:pt x="735" y="589"/>
                  </a:lnTo>
                  <a:lnTo>
                    <a:pt x="749" y="561"/>
                  </a:lnTo>
                  <a:lnTo>
                    <a:pt x="761" y="533"/>
                  </a:lnTo>
                  <a:lnTo>
                    <a:pt x="772" y="506"/>
                  </a:lnTo>
                  <a:lnTo>
                    <a:pt x="780" y="478"/>
                  </a:lnTo>
                  <a:lnTo>
                    <a:pt x="787" y="451"/>
                  </a:lnTo>
                  <a:lnTo>
                    <a:pt x="790" y="437"/>
                  </a:lnTo>
                  <a:lnTo>
                    <a:pt x="791" y="423"/>
                  </a:lnTo>
                  <a:lnTo>
                    <a:pt x="792" y="410"/>
                  </a:lnTo>
                  <a:lnTo>
                    <a:pt x="793" y="396"/>
                  </a:lnTo>
                  <a:lnTo>
                    <a:pt x="792" y="375"/>
                  </a:lnTo>
                  <a:lnTo>
                    <a:pt x="791" y="356"/>
                  </a:lnTo>
                  <a:lnTo>
                    <a:pt x="789" y="335"/>
                  </a:lnTo>
                  <a:lnTo>
                    <a:pt x="785" y="316"/>
                  </a:lnTo>
                  <a:lnTo>
                    <a:pt x="780" y="297"/>
                  </a:lnTo>
                  <a:lnTo>
                    <a:pt x="775" y="278"/>
                  </a:lnTo>
                  <a:lnTo>
                    <a:pt x="769" y="260"/>
                  </a:lnTo>
                  <a:lnTo>
                    <a:pt x="762" y="242"/>
                  </a:lnTo>
                  <a:lnTo>
                    <a:pt x="754" y="224"/>
                  </a:lnTo>
                  <a:lnTo>
                    <a:pt x="746" y="207"/>
                  </a:lnTo>
                  <a:lnTo>
                    <a:pt x="736" y="190"/>
                  </a:lnTo>
                  <a:lnTo>
                    <a:pt x="725" y="174"/>
                  </a:lnTo>
                  <a:lnTo>
                    <a:pt x="714" y="159"/>
                  </a:lnTo>
                  <a:lnTo>
                    <a:pt x="703" y="144"/>
                  </a:lnTo>
                  <a:lnTo>
                    <a:pt x="691" y="130"/>
                  </a:lnTo>
                  <a:lnTo>
                    <a:pt x="677" y="116"/>
                  </a:lnTo>
                  <a:lnTo>
                    <a:pt x="664" y="103"/>
                  </a:lnTo>
                  <a:lnTo>
                    <a:pt x="648" y="90"/>
                  </a:lnTo>
                  <a:lnTo>
                    <a:pt x="633" y="78"/>
                  </a:lnTo>
                  <a:lnTo>
                    <a:pt x="618" y="67"/>
                  </a:lnTo>
                  <a:lnTo>
                    <a:pt x="602" y="58"/>
                  </a:lnTo>
                  <a:lnTo>
                    <a:pt x="586" y="48"/>
                  </a:lnTo>
                  <a:lnTo>
                    <a:pt x="569" y="39"/>
                  </a:lnTo>
                  <a:lnTo>
                    <a:pt x="551" y="31"/>
                  </a:lnTo>
                  <a:lnTo>
                    <a:pt x="533" y="24"/>
                  </a:lnTo>
                  <a:lnTo>
                    <a:pt x="515" y="18"/>
                  </a:lnTo>
                  <a:lnTo>
                    <a:pt x="496" y="12"/>
                  </a:lnTo>
                  <a:lnTo>
                    <a:pt x="477" y="8"/>
                  </a:lnTo>
                  <a:lnTo>
                    <a:pt x="457" y="5"/>
                  </a:lnTo>
                  <a:lnTo>
                    <a:pt x="438" y="1"/>
                  </a:lnTo>
                  <a:lnTo>
                    <a:pt x="417" y="0"/>
                  </a:lnTo>
                  <a:lnTo>
                    <a:pt x="3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5"/>
            <p:cNvSpPr>
              <a:spLocks/>
            </p:cNvSpPr>
            <p:nvPr/>
          </p:nvSpPr>
          <p:spPr bwMode="auto">
            <a:xfrm>
              <a:off x="3791743" y="3739753"/>
              <a:ext cx="93663" cy="93663"/>
            </a:xfrm>
            <a:custGeom>
              <a:avLst/>
              <a:gdLst>
                <a:gd name="T0" fmla="*/ 205 w 234"/>
                <a:gd name="T1" fmla="*/ 1 h 234"/>
                <a:gd name="T2" fmla="*/ 183 w 234"/>
                <a:gd name="T3" fmla="*/ 3 h 234"/>
                <a:gd name="T4" fmla="*/ 152 w 234"/>
                <a:gd name="T5" fmla="*/ 9 h 234"/>
                <a:gd name="T6" fmla="*/ 113 w 234"/>
                <a:gd name="T7" fmla="*/ 26 h 234"/>
                <a:gd name="T8" fmla="*/ 79 w 234"/>
                <a:gd name="T9" fmla="*/ 49 h 234"/>
                <a:gd name="T10" fmla="*/ 50 w 234"/>
                <a:gd name="T11" fmla="*/ 78 h 234"/>
                <a:gd name="T12" fmla="*/ 26 w 234"/>
                <a:gd name="T13" fmla="*/ 113 h 234"/>
                <a:gd name="T14" fmla="*/ 10 w 234"/>
                <a:gd name="T15" fmla="*/ 152 h 234"/>
                <a:gd name="T16" fmla="*/ 2 w 234"/>
                <a:gd name="T17" fmla="*/ 183 h 234"/>
                <a:gd name="T18" fmla="*/ 0 w 234"/>
                <a:gd name="T19" fmla="*/ 205 h 234"/>
                <a:gd name="T20" fmla="*/ 0 w 234"/>
                <a:gd name="T21" fmla="*/ 220 h 234"/>
                <a:gd name="T22" fmla="*/ 3 w 234"/>
                <a:gd name="T23" fmla="*/ 226 h 234"/>
                <a:gd name="T24" fmla="*/ 7 w 234"/>
                <a:gd name="T25" fmla="*/ 231 h 234"/>
                <a:gd name="T26" fmla="*/ 14 w 234"/>
                <a:gd name="T27" fmla="*/ 234 h 234"/>
                <a:gd name="T28" fmla="*/ 21 w 234"/>
                <a:gd name="T29" fmla="*/ 234 h 234"/>
                <a:gd name="T30" fmla="*/ 28 w 234"/>
                <a:gd name="T31" fmla="*/ 231 h 234"/>
                <a:gd name="T32" fmla="*/ 33 w 234"/>
                <a:gd name="T33" fmla="*/ 226 h 234"/>
                <a:gd name="T34" fmla="*/ 35 w 234"/>
                <a:gd name="T35" fmla="*/ 220 h 234"/>
                <a:gd name="T36" fmla="*/ 37 w 234"/>
                <a:gd name="T37" fmla="*/ 197 h 234"/>
                <a:gd name="T38" fmla="*/ 44 w 234"/>
                <a:gd name="T39" fmla="*/ 163 h 234"/>
                <a:gd name="T40" fmla="*/ 58 w 234"/>
                <a:gd name="T41" fmla="*/ 130 h 234"/>
                <a:gd name="T42" fmla="*/ 78 w 234"/>
                <a:gd name="T43" fmla="*/ 101 h 234"/>
                <a:gd name="T44" fmla="*/ 101 w 234"/>
                <a:gd name="T45" fmla="*/ 77 h 234"/>
                <a:gd name="T46" fmla="*/ 131 w 234"/>
                <a:gd name="T47" fmla="*/ 58 h 234"/>
                <a:gd name="T48" fmla="*/ 163 w 234"/>
                <a:gd name="T49" fmla="*/ 44 h 234"/>
                <a:gd name="T50" fmla="*/ 197 w 234"/>
                <a:gd name="T51" fmla="*/ 36 h 234"/>
                <a:gd name="T52" fmla="*/ 219 w 234"/>
                <a:gd name="T53" fmla="*/ 35 h 234"/>
                <a:gd name="T54" fmla="*/ 226 w 234"/>
                <a:gd name="T55" fmla="*/ 33 h 234"/>
                <a:gd name="T56" fmla="*/ 231 w 234"/>
                <a:gd name="T57" fmla="*/ 28 h 234"/>
                <a:gd name="T58" fmla="*/ 233 w 234"/>
                <a:gd name="T59" fmla="*/ 21 h 234"/>
                <a:gd name="T60" fmla="*/ 233 w 234"/>
                <a:gd name="T61" fmla="*/ 15 h 234"/>
                <a:gd name="T62" fmla="*/ 231 w 234"/>
                <a:gd name="T63" fmla="*/ 8 h 234"/>
                <a:gd name="T64" fmla="*/ 226 w 234"/>
                <a:gd name="T65" fmla="*/ 3 h 234"/>
                <a:gd name="T66" fmla="*/ 219 w 234"/>
                <a:gd name="T67" fmla="*/ 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34">
                  <a:moveTo>
                    <a:pt x="216" y="0"/>
                  </a:moveTo>
                  <a:lnTo>
                    <a:pt x="205" y="1"/>
                  </a:lnTo>
                  <a:lnTo>
                    <a:pt x="194" y="1"/>
                  </a:lnTo>
                  <a:lnTo>
                    <a:pt x="183" y="3"/>
                  </a:lnTo>
                  <a:lnTo>
                    <a:pt x="173" y="4"/>
                  </a:lnTo>
                  <a:lnTo>
                    <a:pt x="152" y="9"/>
                  </a:lnTo>
                  <a:lnTo>
                    <a:pt x="132" y="17"/>
                  </a:lnTo>
                  <a:lnTo>
                    <a:pt x="113" y="26"/>
                  </a:lnTo>
                  <a:lnTo>
                    <a:pt x="95" y="36"/>
                  </a:lnTo>
                  <a:lnTo>
                    <a:pt x="79" y="49"/>
                  </a:lnTo>
                  <a:lnTo>
                    <a:pt x="64" y="63"/>
                  </a:lnTo>
                  <a:lnTo>
                    <a:pt x="50" y="78"/>
                  </a:lnTo>
                  <a:lnTo>
                    <a:pt x="37" y="95"/>
                  </a:lnTo>
                  <a:lnTo>
                    <a:pt x="26" y="113"/>
                  </a:lnTo>
                  <a:lnTo>
                    <a:pt x="17" y="131"/>
                  </a:lnTo>
                  <a:lnTo>
                    <a:pt x="10" y="152"/>
                  </a:lnTo>
                  <a:lnTo>
                    <a:pt x="4" y="172"/>
                  </a:lnTo>
                  <a:lnTo>
                    <a:pt x="2" y="183"/>
                  </a:lnTo>
                  <a:lnTo>
                    <a:pt x="1" y="194"/>
                  </a:lnTo>
                  <a:lnTo>
                    <a:pt x="0" y="205"/>
                  </a:lnTo>
                  <a:lnTo>
                    <a:pt x="0" y="216"/>
                  </a:lnTo>
                  <a:lnTo>
                    <a:pt x="0" y="220"/>
                  </a:lnTo>
                  <a:lnTo>
                    <a:pt x="1" y="223"/>
                  </a:lnTo>
                  <a:lnTo>
                    <a:pt x="3" y="226"/>
                  </a:lnTo>
                  <a:lnTo>
                    <a:pt x="5" y="229"/>
                  </a:lnTo>
                  <a:lnTo>
                    <a:pt x="7" y="231"/>
                  </a:lnTo>
                  <a:lnTo>
                    <a:pt x="11" y="233"/>
                  </a:lnTo>
                  <a:lnTo>
                    <a:pt x="14" y="234"/>
                  </a:lnTo>
                  <a:lnTo>
                    <a:pt x="18" y="234"/>
                  </a:lnTo>
                  <a:lnTo>
                    <a:pt x="21" y="234"/>
                  </a:lnTo>
                  <a:lnTo>
                    <a:pt x="25" y="233"/>
                  </a:lnTo>
                  <a:lnTo>
                    <a:pt x="28" y="231"/>
                  </a:lnTo>
                  <a:lnTo>
                    <a:pt x="31" y="229"/>
                  </a:lnTo>
                  <a:lnTo>
                    <a:pt x="33" y="226"/>
                  </a:lnTo>
                  <a:lnTo>
                    <a:pt x="34" y="223"/>
                  </a:lnTo>
                  <a:lnTo>
                    <a:pt x="35" y="220"/>
                  </a:lnTo>
                  <a:lnTo>
                    <a:pt x="35" y="216"/>
                  </a:lnTo>
                  <a:lnTo>
                    <a:pt x="37" y="197"/>
                  </a:lnTo>
                  <a:lnTo>
                    <a:pt x="40" y="180"/>
                  </a:lnTo>
                  <a:lnTo>
                    <a:pt x="44" y="163"/>
                  </a:lnTo>
                  <a:lnTo>
                    <a:pt x="51" y="145"/>
                  </a:lnTo>
                  <a:lnTo>
                    <a:pt x="58" y="130"/>
                  </a:lnTo>
                  <a:lnTo>
                    <a:pt x="67" y="115"/>
                  </a:lnTo>
                  <a:lnTo>
                    <a:pt x="78" y="101"/>
                  </a:lnTo>
                  <a:lnTo>
                    <a:pt x="88" y="88"/>
                  </a:lnTo>
                  <a:lnTo>
                    <a:pt x="101" y="77"/>
                  </a:lnTo>
                  <a:lnTo>
                    <a:pt x="115" y="67"/>
                  </a:lnTo>
                  <a:lnTo>
                    <a:pt x="131" y="58"/>
                  </a:lnTo>
                  <a:lnTo>
                    <a:pt x="146" y="50"/>
                  </a:lnTo>
                  <a:lnTo>
                    <a:pt x="163" y="44"/>
                  </a:lnTo>
                  <a:lnTo>
                    <a:pt x="180" y="40"/>
                  </a:lnTo>
                  <a:lnTo>
                    <a:pt x="197" y="36"/>
                  </a:lnTo>
                  <a:lnTo>
                    <a:pt x="216" y="36"/>
                  </a:lnTo>
                  <a:lnTo>
                    <a:pt x="219" y="35"/>
                  </a:lnTo>
                  <a:lnTo>
                    <a:pt x="223" y="34"/>
                  </a:lnTo>
                  <a:lnTo>
                    <a:pt x="226" y="33"/>
                  </a:lnTo>
                  <a:lnTo>
                    <a:pt x="229" y="31"/>
                  </a:lnTo>
                  <a:lnTo>
                    <a:pt x="231" y="28"/>
                  </a:lnTo>
                  <a:lnTo>
                    <a:pt x="232" y="24"/>
                  </a:lnTo>
                  <a:lnTo>
                    <a:pt x="233" y="21"/>
                  </a:lnTo>
                  <a:lnTo>
                    <a:pt x="234" y="18"/>
                  </a:lnTo>
                  <a:lnTo>
                    <a:pt x="233" y="15"/>
                  </a:lnTo>
                  <a:lnTo>
                    <a:pt x="232" y="10"/>
                  </a:lnTo>
                  <a:lnTo>
                    <a:pt x="231" y="8"/>
                  </a:lnTo>
                  <a:lnTo>
                    <a:pt x="229" y="5"/>
                  </a:lnTo>
                  <a:lnTo>
                    <a:pt x="226" y="3"/>
                  </a:lnTo>
                  <a:lnTo>
                    <a:pt x="223" y="2"/>
                  </a:lnTo>
                  <a:lnTo>
                    <a:pt x="219" y="1"/>
                  </a:lnTo>
                  <a:lnTo>
                    <a:pt x="2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Freeform 140"/>
          <p:cNvSpPr>
            <a:spLocks noEditPoints="1"/>
          </p:cNvSpPr>
          <p:nvPr/>
        </p:nvSpPr>
        <p:spPr bwMode="auto">
          <a:xfrm>
            <a:off x="8734592" y="4251597"/>
            <a:ext cx="283885" cy="275015"/>
          </a:xfrm>
          <a:custGeom>
            <a:avLst/>
            <a:gdLst>
              <a:gd name="T0" fmla="*/ 837 w 1152"/>
              <a:gd name="T1" fmla="*/ 676 h 1116"/>
              <a:gd name="T2" fmla="*/ 827 w 1152"/>
              <a:gd name="T3" fmla="*/ 702 h 1116"/>
              <a:gd name="T4" fmla="*/ 826 w 1152"/>
              <a:gd name="T5" fmla="*/ 731 h 1116"/>
              <a:gd name="T6" fmla="*/ 606 w 1152"/>
              <a:gd name="T7" fmla="*/ 890 h 1116"/>
              <a:gd name="T8" fmla="*/ 576 w 1152"/>
              <a:gd name="T9" fmla="*/ 885 h 1116"/>
              <a:gd name="T10" fmla="*/ 546 w 1152"/>
              <a:gd name="T11" fmla="*/ 890 h 1116"/>
              <a:gd name="T12" fmla="*/ 325 w 1152"/>
              <a:gd name="T13" fmla="*/ 731 h 1116"/>
              <a:gd name="T14" fmla="*/ 325 w 1152"/>
              <a:gd name="T15" fmla="*/ 702 h 1116"/>
              <a:gd name="T16" fmla="*/ 314 w 1152"/>
              <a:gd name="T17" fmla="*/ 676 h 1116"/>
              <a:gd name="T18" fmla="*/ 83 w 1152"/>
              <a:gd name="T19" fmla="*/ 442 h 1116"/>
              <a:gd name="T20" fmla="*/ 403 w 1152"/>
              <a:gd name="T21" fmla="*/ 392 h 1116"/>
              <a:gd name="T22" fmla="*/ 428 w 1152"/>
              <a:gd name="T23" fmla="*/ 376 h 1116"/>
              <a:gd name="T24" fmla="*/ 446 w 1152"/>
              <a:gd name="T25" fmla="*/ 351 h 1116"/>
              <a:gd name="T26" fmla="*/ 711 w 1152"/>
              <a:gd name="T27" fmla="*/ 361 h 1116"/>
              <a:gd name="T28" fmla="*/ 731 w 1152"/>
              <a:gd name="T29" fmla="*/ 382 h 1116"/>
              <a:gd name="T30" fmla="*/ 759 w 1152"/>
              <a:gd name="T31" fmla="*/ 395 h 1116"/>
              <a:gd name="T32" fmla="*/ 849 w 1152"/>
              <a:gd name="T33" fmla="*/ 661 h 1116"/>
              <a:gd name="T34" fmla="*/ 1137 w 1152"/>
              <a:gd name="T35" fmla="*/ 396 h 1116"/>
              <a:gd name="T36" fmla="*/ 1114 w 1152"/>
              <a:gd name="T37" fmla="*/ 374 h 1116"/>
              <a:gd name="T38" fmla="*/ 1081 w 1152"/>
              <a:gd name="T39" fmla="*/ 362 h 1116"/>
              <a:gd name="T40" fmla="*/ 645 w 1152"/>
              <a:gd name="T41" fmla="*/ 37 h 1116"/>
              <a:gd name="T42" fmla="*/ 620 w 1152"/>
              <a:gd name="T43" fmla="*/ 13 h 1116"/>
              <a:gd name="T44" fmla="*/ 588 w 1152"/>
              <a:gd name="T45" fmla="*/ 1 h 1116"/>
              <a:gd name="T46" fmla="*/ 552 w 1152"/>
              <a:gd name="T47" fmla="*/ 3 h 1116"/>
              <a:gd name="T48" fmla="*/ 522 w 1152"/>
              <a:gd name="T49" fmla="*/ 19 h 1116"/>
              <a:gd name="T50" fmla="*/ 500 w 1152"/>
              <a:gd name="T51" fmla="*/ 46 h 1116"/>
              <a:gd name="T52" fmla="*/ 60 w 1152"/>
              <a:gd name="T53" fmla="*/ 364 h 1116"/>
              <a:gd name="T54" fmla="*/ 29 w 1152"/>
              <a:gd name="T55" fmla="*/ 380 h 1116"/>
              <a:gd name="T56" fmla="*/ 9 w 1152"/>
              <a:gd name="T57" fmla="*/ 406 h 1116"/>
              <a:gd name="T58" fmla="*/ 0 w 1152"/>
              <a:gd name="T59" fmla="*/ 438 h 1116"/>
              <a:gd name="T60" fmla="*/ 6 w 1152"/>
              <a:gd name="T61" fmla="*/ 470 h 1116"/>
              <a:gd name="T62" fmla="*/ 24 w 1152"/>
              <a:gd name="T63" fmla="*/ 498 h 1116"/>
              <a:gd name="T64" fmla="*/ 191 w 1152"/>
              <a:gd name="T65" fmla="*/ 1034 h 1116"/>
              <a:gd name="T66" fmla="*/ 198 w 1152"/>
              <a:gd name="T67" fmla="*/ 1066 h 1116"/>
              <a:gd name="T68" fmla="*/ 217 w 1152"/>
              <a:gd name="T69" fmla="*/ 1094 h 1116"/>
              <a:gd name="T70" fmla="*/ 250 w 1152"/>
              <a:gd name="T71" fmla="*/ 1112 h 1116"/>
              <a:gd name="T72" fmla="*/ 284 w 1152"/>
              <a:gd name="T73" fmla="*/ 1116 h 1116"/>
              <a:gd name="T74" fmla="*/ 314 w 1152"/>
              <a:gd name="T75" fmla="*/ 1106 h 1116"/>
              <a:gd name="T76" fmla="*/ 847 w 1152"/>
              <a:gd name="T77" fmla="*/ 1110 h 1116"/>
              <a:gd name="T78" fmla="*/ 877 w 1152"/>
              <a:gd name="T79" fmla="*/ 1116 h 1116"/>
              <a:gd name="T80" fmla="*/ 914 w 1152"/>
              <a:gd name="T81" fmla="*/ 1108 h 1116"/>
              <a:gd name="T82" fmla="*/ 943 w 1152"/>
              <a:gd name="T83" fmla="*/ 1085 h 1116"/>
              <a:gd name="T84" fmla="*/ 958 w 1152"/>
              <a:gd name="T85" fmla="*/ 1055 h 1116"/>
              <a:gd name="T86" fmla="*/ 959 w 1152"/>
              <a:gd name="T87" fmla="*/ 1022 h 1116"/>
              <a:gd name="T88" fmla="*/ 1136 w 1152"/>
              <a:gd name="T89" fmla="*/ 489 h 1116"/>
              <a:gd name="T90" fmla="*/ 1150 w 1152"/>
              <a:gd name="T91" fmla="*/ 460 h 1116"/>
              <a:gd name="T92" fmla="*/ 1150 w 1152"/>
              <a:gd name="T93" fmla="*/ 427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52" h="1116">
                <a:moveTo>
                  <a:pt x="849" y="661"/>
                </a:moveTo>
                <a:lnTo>
                  <a:pt x="843" y="669"/>
                </a:lnTo>
                <a:lnTo>
                  <a:pt x="837" y="676"/>
                </a:lnTo>
                <a:lnTo>
                  <a:pt x="833" y="685"/>
                </a:lnTo>
                <a:lnTo>
                  <a:pt x="830" y="693"/>
                </a:lnTo>
                <a:lnTo>
                  <a:pt x="827" y="702"/>
                </a:lnTo>
                <a:lnTo>
                  <a:pt x="825" y="712"/>
                </a:lnTo>
                <a:lnTo>
                  <a:pt x="825" y="721"/>
                </a:lnTo>
                <a:lnTo>
                  <a:pt x="826" y="731"/>
                </a:lnTo>
                <a:lnTo>
                  <a:pt x="877" y="1035"/>
                </a:lnTo>
                <a:lnTo>
                  <a:pt x="616" y="894"/>
                </a:lnTo>
                <a:lnTo>
                  <a:pt x="606" y="890"/>
                </a:lnTo>
                <a:lnTo>
                  <a:pt x="596" y="887"/>
                </a:lnTo>
                <a:lnTo>
                  <a:pt x="587" y="885"/>
                </a:lnTo>
                <a:lnTo>
                  <a:pt x="576" y="885"/>
                </a:lnTo>
                <a:lnTo>
                  <a:pt x="566" y="885"/>
                </a:lnTo>
                <a:lnTo>
                  <a:pt x="555" y="887"/>
                </a:lnTo>
                <a:lnTo>
                  <a:pt x="546" y="890"/>
                </a:lnTo>
                <a:lnTo>
                  <a:pt x="536" y="894"/>
                </a:lnTo>
                <a:lnTo>
                  <a:pt x="275" y="1035"/>
                </a:lnTo>
                <a:lnTo>
                  <a:pt x="325" y="731"/>
                </a:lnTo>
                <a:lnTo>
                  <a:pt x="326" y="721"/>
                </a:lnTo>
                <a:lnTo>
                  <a:pt x="326" y="712"/>
                </a:lnTo>
                <a:lnTo>
                  <a:pt x="325" y="702"/>
                </a:lnTo>
                <a:lnTo>
                  <a:pt x="323" y="693"/>
                </a:lnTo>
                <a:lnTo>
                  <a:pt x="319" y="685"/>
                </a:lnTo>
                <a:lnTo>
                  <a:pt x="314" y="676"/>
                </a:lnTo>
                <a:lnTo>
                  <a:pt x="309" y="669"/>
                </a:lnTo>
                <a:lnTo>
                  <a:pt x="303" y="661"/>
                </a:lnTo>
                <a:lnTo>
                  <a:pt x="83" y="442"/>
                </a:lnTo>
                <a:lnTo>
                  <a:pt x="383" y="397"/>
                </a:lnTo>
                <a:lnTo>
                  <a:pt x="393" y="395"/>
                </a:lnTo>
                <a:lnTo>
                  <a:pt x="403" y="392"/>
                </a:lnTo>
                <a:lnTo>
                  <a:pt x="412" y="388"/>
                </a:lnTo>
                <a:lnTo>
                  <a:pt x="420" y="382"/>
                </a:lnTo>
                <a:lnTo>
                  <a:pt x="428" y="376"/>
                </a:lnTo>
                <a:lnTo>
                  <a:pt x="434" y="368"/>
                </a:lnTo>
                <a:lnTo>
                  <a:pt x="441" y="361"/>
                </a:lnTo>
                <a:lnTo>
                  <a:pt x="446" y="351"/>
                </a:lnTo>
                <a:lnTo>
                  <a:pt x="576" y="81"/>
                </a:lnTo>
                <a:lnTo>
                  <a:pt x="707" y="351"/>
                </a:lnTo>
                <a:lnTo>
                  <a:pt x="711" y="361"/>
                </a:lnTo>
                <a:lnTo>
                  <a:pt x="717" y="368"/>
                </a:lnTo>
                <a:lnTo>
                  <a:pt x="724" y="376"/>
                </a:lnTo>
                <a:lnTo>
                  <a:pt x="731" y="382"/>
                </a:lnTo>
                <a:lnTo>
                  <a:pt x="740" y="388"/>
                </a:lnTo>
                <a:lnTo>
                  <a:pt x="750" y="392"/>
                </a:lnTo>
                <a:lnTo>
                  <a:pt x="759" y="395"/>
                </a:lnTo>
                <a:lnTo>
                  <a:pt x="769" y="397"/>
                </a:lnTo>
                <a:lnTo>
                  <a:pt x="1068" y="442"/>
                </a:lnTo>
                <a:lnTo>
                  <a:pt x="849" y="661"/>
                </a:lnTo>
                <a:close/>
                <a:moveTo>
                  <a:pt x="1147" y="416"/>
                </a:moveTo>
                <a:lnTo>
                  <a:pt x="1143" y="406"/>
                </a:lnTo>
                <a:lnTo>
                  <a:pt x="1137" y="396"/>
                </a:lnTo>
                <a:lnTo>
                  <a:pt x="1131" y="388"/>
                </a:lnTo>
                <a:lnTo>
                  <a:pt x="1122" y="380"/>
                </a:lnTo>
                <a:lnTo>
                  <a:pt x="1114" y="374"/>
                </a:lnTo>
                <a:lnTo>
                  <a:pt x="1103" y="368"/>
                </a:lnTo>
                <a:lnTo>
                  <a:pt x="1093" y="364"/>
                </a:lnTo>
                <a:lnTo>
                  <a:pt x="1081" y="362"/>
                </a:lnTo>
                <a:lnTo>
                  <a:pt x="782" y="318"/>
                </a:lnTo>
                <a:lnTo>
                  <a:pt x="651" y="46"/>
                </a:lnTo>
                <a:lnTo>
                  <a:pt x="645" y="37"/>
                </a:lnTo>
                <a:lnTo>
                  <a:pt x="638" y="27"/>
                </a:lnTo>
                <a:lnTo>
                  <a:pt x="630" y="19"/>
                </a:lnTo>
                <a:lnTo>
                  <a:pt x="620" y="13"/>
                </a:lnTo>
                <a:lnTo>
                  <a:pt x="610" y="8"/>
                </a:lnTo>
                <a:lnTo>
                  <a:pt x="600" y="3"/>
                </a:lnTo>
                <a:lnTo>
                  <a:pt x="588" y="1"/>
                </a:lnTo>
                <a:lnTo>
                  <a:pt x="576" y="0"/>
                </a:lnTo>
                <a:lnTo>
                  <a:pt x="564" y="1"/>
                </a:lnTo>
                <a:lnTo>
                  <a:pt x="552" y="3"/>
                </a:lnTo>
                <a:lnTo>
                  <a:pt x="541" y="8"/>
                </a:lnTo>
                <a:lnTo>
                  <a:pt x="532" y="13"/>
                </a:lnTo>
                <a:lnTo>
                  <a:pt x="522" y="19"/>
                </a:lnTo>
                <a:lnTo>
                  <a:pt x="513" y="27"/>
                </a:lnTo>
                <a:lnTo>
                  <a:pt x="507" y="37"/>
                </a:lnTo>
                <a:lnTo>
                  <a:pt x="500" y="46"/>
                </a:lnTo>
                <a:lnTo>
                  <a:pt x="371" y="318"/>
                </a:lnTo>
                <a:lnTo>
                  <a:pt x="70" y="362"/>
                </a:lnTo>
                <a:lnTo>
                  <a:pt x="60" y="364"/>
                </a:lnTo>
                <a:lnTo>
                  <a:pt x="49" y="368"/>
                </a:lnTo>
                <a:lnTo>
                  <a:pt x="39" y="374"/>
                </a:lnTo>
                <a:lnTo>
                  <a:pt x="29" y="380"/>
                </a:lnTo>
                <a:lnTo>
                  <a:pt x="22" y="388"/>
                </a:lnTo>
                <a:lnTo>
                  <a:pt x="14" y="396"/>
                </a:lnTo>
                <a:lnTo>
                  <a:pt x="9" y="406"/>
                </a:lnTo>
                <a:lnTo>
                  <a:pt x="5" y="416"/>
                </a:lnTo>
                <a:lnTo>
                  <a:pt x="1" y="427"/>
                </a:lnTo>
                <a:lnTo>
                  <a:pt x="0" y="438"/>
                </a:lnTo>
                <a:lnTo>
                  <a:pt x="0" y="449"/>
                </a:lnTo>
                <a:lnTo>
                  <a:pt x="2" y="460"/>
                </a:lnTo>
                <a:lnTo>
                  <a:pt x="6" y="470"/>
                </a:lnTo>
                <a:lnTo>
                  <a:pt x="10" y="481"/>
                </a:lnTo>
                <a:lnTo>
                  <a:pt x="16" y="489"/>
                </a:lnTo>
                <a:lnTo>
                  <a:pt x="24" y="498"/>
                </a:lnTo>
                <a:lnTo>
                  <a:pt x="243" y="717"/>
                </a:lnTo>
                <a:lnTo>
                  <a:pt x="192" y="1022"/>
                </a:lnTo>
                <a:lnTo>
                  <a:pt x="191" y="1034"/>
                </a:lnTo>
                <a:lnTo>
                  <a:pt x="191" y="1044"/>
                </a:lnTo>
                <a:lnTo>
                  <a:pt x="194" y="1055"/>
                </a:lnTo>
                <a:lnTo>
                  <a:pt x="198" y="1066"/>
                </a:lnTo>
                <a:lnTo>
                  <a:pt x="203" y="1077"/>
                </a:lnTo>
                <a:lnTo>
                  <a:pt x="210" y="1085"/>
                </a:lnTo>
                <a:lnTo>
                  <a:pt x="217" y="1094"/>
                </a:lnTo>
                <a:lnTo>
                  <a:pt x="227" y="1102"/>
                </a:lnTo>
                <a:lnTo>
                  <a:pt x="238" y="1108"/>
                </a:lnTo>
                <a:lnTo>
                  <a:pt x="250" y="1112"/>
                </a:lnTo>
                <a:lnTo>
                  <a:pt x="262" y="1115"/>
                </a:lnTo>
                <a:lnTo>
                  <a:pt x="275" y="1116"/>
                </a:lnTo>
                <a:lnTo>
                  <a:pt x="284" y="1116"/>
                </a:lnTo>
                <a:lnTo>
                  <a:pt x="295" y="1113"/>
                </a:lnTo>
                <a:lnTo>
                  <a:pt x="305" y="1110"/>
                </a:lnTo>
                <a:lnTo>
                  <a:pt x="314" y="1106"/>
                </a:lnTo>
                <a:lnTo>
                  <a:pt x="576" y="966"/>
                </a:lnTo>
                <a:lnTo>
                  <a:pt x="837" y="1106"/>
                </a:lnTo>
                <a:lnTo>
                  <a:pt x="847" y="1110"/>
                </a:lnTo>
                <a:lnTo>
                  <a:pt x="857" y="1113"/>
                </a:lnTo>
                <a:lnTo>
                  <a:pt x="867" y="1116"/>
                </a:lnTo>
                <a:lnTo>
                  <a:pt x="877" y="1116"/>
                </a:lnTo>
                <a:lnTo>
                  <a:pt x="890" y="1115"/>
                </a:lnTo>
                <a:lnTo>
                  <a:pt x="902" y="1112"/>
                </a:lnTo>
                <a:lnTo>
                  <a:pt x="914" y="1108"/>
                </a:lnTo>
                <a:lnTo>
                  <a:pt x="926" y="1102"/>
                </a:lnTo>
                <a:lnTo>
                  <a:pt x="934" y="1094"/>
                </a:lnTo>
                <a:lnTo>
                  <a:pt x="943" y="1085"/>
                </a:lnTo>
                <a:lnTo>
                  <a:pt x="950" y="1077"/>
                </a:lnTo>
                <a:lnTo>
                  <a:pt x="954" y="1066"/>
                </a:lnTo>
                <a:lnTo>
                  <a:pt x="958" y="1055"/>
                </a:lnTo>
                <a:lnTo>
                  <a:pt x="960" y="1044"/>
                </a:lnTo>
                <a:lnTo>
                  <a:pt x="960" y="1034"/>
                </a:lnTo>
                <a:lnTo>
                  <a:pt x="959" y="1022"/>
                </a:lnTo>
                <a:lnTo>
                  <a:pt x="909" y="717"/>
                </a:lnTo>
                <a:lnTo>
                  <a:pt x="1129" y="498"/>
                </a:lnTo>
                <a:lnTo>
                  <a:pt x="1136" y="489"/>
                </a:lnTo>
                <a:lnTo>
                  <a:pt x="1142" y="481"/>
                </a:lnTo>
                <a:lnTo>
                  <a:pt x="1147" y="470"/>
                </a:lnTo>
                <a:lnTo>
                  <a:pt x="1150" y="460"/>
                </a:lnTo>
                <a:lnTo>
                  <a:pt x="1152" y="449"/>
                </a:lnTo>
                <a:lnTo>
                  <a:pt x="1152" y="438"/>
                </a:lnTo>
                <a:lnTo>
                  <a:pt x="1150" y="427"/>
                </a:lnTo>
                <a:lnTo>
                  <a:pt x="1147" y="41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41439028"/>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Placeholder 31">
            <a:extLst>
              <a:ext uri="{FF2B5EF4-FFF2-40B4-BE49-F238E27FC236}">
                <a16:creationId xmlns:a16="http://schemas.microsoft.com/office/drawing/2014/main" id="{34B0AA33-EE53-4BDA-88AC-48213EA32067}"/>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t="30025" b="48503"/>
          <a:stretch/>
        </p:blipFill>
        <p:spPr>
          <a:xfrm>
            <a:off x="0" y="4899526"/>
            <a:ext cx="12192000" cy="1958474"/>
          </a:xfrm>
        </p:spPr>
      </p:pic>
      <p:pic>
        <p:nvPicPr>
          <p:cNvPr id="5" name="Picture Placeholder 4">
            <a:extLst>
              <a:ext uri="{FF2B5EF4-FFF2-40B4-BE49-F238E27FC236}">
                <a16:creationId xmlns:a16="http://schemas.microsoft.com/office/drawing/2014/main" id="{E5857322-8EB3-42DD-A232-4C640B49ED7C}"/>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103" r="2103"/>
          <a:stretch>
            <a:fillRect/>
          </a:stretch>
        </p:blipFill>
        <p:spPr>
          <a:solidFill>
            <a:schemeClr val="tx1"/>
          </a:solidFill>
        </p:spPr>
      </p:pic>
      <p:sp>
        <p:nvSpPr>
          <p:cNvPr id="2" name="Slide Number Placeholder 1"/>
          <p:cNvSpPr>
            <a:spLocks noGrp="1"/>
          </p:cNvSpPr>
          <p:nvPr>
            <p:ph type="sldNum" sz="quarter" idx="12"/>
          </p:nvPr>
        </p:nvSpPr>
        <p:spPr/>
        <p:txBody>
          <a:bodyPr/>
          <a:lstStyle/>
          <a:p>
            <a:fld id="{32ECD629-4DA5-4EAE-B174-69948CAAE2CE}" type="slidenum">
              <a:rPr lang="en-US" smtClean="0"/>
              <a:t>7</a:t>
            </a:fld>
            <a:endParaRPr lang="en-US" dirty="0"/>
          </a:p>
        </p:txBody>
      </p:sp>
      <p:pic>
        <p:nvPicPr>
          <p:cNvPr id="10" name="Picture Placeholder 9">
            <a:extLst>
              <a:ext uri="{FF2B5EF4-FFF2-40B4-BE49-F238E27FC236}">
                <a16:creationId xmlns:a16="http://schemas.microsoft.com/office/drawing/2014/main" id="{516478B8-021C-4E32-AB63-DB710F79C385}"/>
              </a:ext>
            </a:extLst>
          </p:cNvPr>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l="1071" r="1071"/>
          <a:stretch>
            <a:fillRect/>
          </a:stretch>
        </p:blipFill>
        <p:spPr>
          <a:solidFill>
            <a:schemeClr val="tx1"/>
          </a:solidFill>
        </p:spPr>
      </p:pic>
      <p:sp>
        <p:nvSpPr>
          <p:cNvPr id="6" name="Rectangle 5"/>
          <p:cNvSpPr/>
          <p:nvPr/>
        </p:nvSpPr>
        <p:spPr>
          <a:xfrm>
            <a:off x="453907" y="2358213"/>
            <a:ext cx="2498844" cy="1815882"/>
          </a:xfrm>
          <a:prstGeom prst="rect">
            <a:avLst/>
          </a:prstGeom>
        </p:spPr>
        <p:txBody>
          <a:bodyPr wrap="square">
            <a:spAutoFit/>
          </a:bodyPr>
          <a:lstStyle/>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SIT AME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CONSECTETUR </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ADIPISCING ELI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NULLA IMPERDIE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VOLUTPAT DUI A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FERMENTUMALIQUAM </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ERAT VOLUTPA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AENEAN LACINIA LACUS</a:t>
            </a:r>
          </a:p>
        </p:txBody>
      </p:sp>
      <p:sp>
        <p:nvSpPr>
          <p:cNvPr id="8" name="Rectangle 7"/>
          <p:cNvSpPr/>
          <p:nvPr/>
        </p:nvSpPr>
        <p:spPr>
          <a:xfrm>
            <a:off x="3139957" y="2358213"/>
            <a:ext cx="2498844" cy="1815882"/>
          </a:xfrm>
          <a:prstGeom prst="rect">
            <a:avLst/>
          </a:prstGeom>
        </p:spPr>
        <p:txBody>
          <a:bodyPr wrap="square">
            <a:spAutoFit/>
          </a:bodyPr>
          <a:lstStyle/>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SIT AME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CONSECTETUR </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ADIPISCING ELI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NULLA IMPERDIE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VOLUTPAT DUI A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FERMENTUMALIQUAM </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ERAT VOLUTPAT</a:t>
            </a:r>
          </a:p>
          <a:p>
            <a:pPr marL="285744" indent="-285744">
              <a:buFont typeface="Arial" panose="020B0604020202020204" pitchFamily="34" charset="0"/>
              <a:buChar char="•"/>
            </a:pPr>
            <a:r>
              <a:rPr lang="en-US" sz="1400" noProof="1">
                <a:solidFill>
                  <a:schemeClr val="tx1">
                    <a:lumMod val="75000"/>
                    <a:lumOff val="25000"/>
                  </a:schemeClr>
                </a:solidFill>
                <a:latin typeface="+mj-lt"/>
                <a:ea typeface="Roboto Light" panose="02000000000000000000" pitchFamily="2" charset="0"/>
              </a:rPr>
              <a:t>AENEAN LACINIA LACUS</a:t>
            </a:r>
          </a:p>
        </p:txBody>
      </p:sp>
      <p:sp>
        <p:nvSpPr>
          <p:cNvPr id="3" name="Rectangle 2"/>
          <p:cNvSpPr/>
          <p:nvPr/>
        </p:nvSpPr>
        <p:spPr>
          <a:xfrm>
            <a:off x="1" y="4899526"/>
            <a:ext cx="5540819" cy="1960461"/>
          </a:xfrm>
          <a:prstGeom prst="rect">
            <a:avLst/>
          </a:prstGeom>
          <a:solidFill>
            <a:schemeClr val="tx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1226715" y="5149807"/>
            <a:ext cx="3954885" cy="1415772"/>
          </a:xfrm>
          <a:prstGeom prst="rect">
            <a:avLst/>
          </a:prstGeom>
        </p:spPr>
        <p:txBody>
          <a:bodyPr wrap="square">
            <a:spAutoFit/>
          </a:bodyPr>
          <a:lstStyle/>
          <a:p>
            <a:pPr algn="just"/>
            <a:r>
              <a:rPr lang="en-US" sz="1400" b="1" noProof="1">
                <a:solidFill>
                  <a:schemeClr val="bg1"/>
                </a:solidFill>
                <a:latin typeface="Open Sans" panose="020B0606030504020204" pitchFamily="34" charset="0"/>
                <a:ea typeface="Open Sans" panose="020B0606030504020204" pitchFamily="34" charset="0"/>
                <a:cs typeface="Open Sans" panose="020B0606030504020204" pitchFamily="34" charset="0"/>
              </a:rPr>
              <a:t>LOREM IPSUM DOLOR </a:t>
            </a:r>
          </a:p>
          <a:p>
            <a:pPr algn="just"/>
            <a:endParaRPr lang="en-US" sz="1200" b="1" noProof="1">
              <a:solidFill>
                <a:schemeClr val="bg1"/>
              </a:solidFill>
              <a:latin typeface="+mj-lt"/>
              <a:ea typeface="Roboto Light" panose="02000000000000000000" pitchFamily="2" charset="0"/>
            </a:endParaRPr>
          </a:p>
          <a:p>
            <a:pPr algn="just"/>
            <a:r>
              <a:rPr lang="en-US" sz="1200" noProof="1">
                <a:solidFill>
                  <a:schemeClr val="bg1"/>
                </a:solidFill>
                <a:latin typeface="+mj-lt"/>
                <a:ea typeface="Roboto Light" panose="02000000000000000000" pitchFamily="2" charset="0"/>
              </a:rPr>
              <a:t>sit amet, consectetur adipiscing elit. Nulla imperdiet volutpat dui at fermentum. Aliquam erat volutpat. Aenean lacinia lacus aliquet ante mollis, sollicitudin tempor tortor aliquam. Nulla facilisi. Nam auctor metus vitae quam gravida, ac vehicula elit mollis. </a:t>
            </a:r>
          </a:p>
        </p:txBody>
      </p:sp>
      <p:grpSp>
        <p:nvGrpSpPr>
          <p:cNvPr id="23" name="Group 22"/>
          <p:cNvGrpSpPr/>
          <p:nvPr/>
        </p:nvGrpSpPr>
        <p:grpSpPr>
          <a:xfrm>
            <a:off x="300917" y="5427411"/>
            <a:ext cx="860564" cy="860564"/>
            <a:chOff x="1260653" y="5164541"/>
            <a:chExt cx="449902" cy="449902"/>
          </a:xfrm>
          <a:solidFill>
            <a:schemeClr val="bg1"/>
          </a:solidFill>
        </p:grpSpPr>
        <p:sp>
          <p:nvSpPr>
            <p:cNvPr id="24" name="Freeform 439"/>
            <p:cNvSpPr>
              <a:spLocks noEditPoints="1"/>
            </p:cNvSpPr>
            <p:nvPr/>
          </p:nvSpPr>
          <p:spPr bwMode="auto">
            <a:xfrm>
              <a:off x="1317437" y="5538731"/>
              <a:ext cx="75712" cy="75712"/>
            </a:xfrm>
            <a:custGeom>
              <a:avLst/>
              <a:gdLst>
                <a:gd name="T0" fmla="*/ 69 w 154"/>
                <a:gd name="T1" fmla="*/ 39 h 155"/>
                <a:gd name="T2" fmla="*/ 54 w 154"/>
                <a:gd name="T3" fmla="*/ 46 h 155"/>
                <a:gd name="T4" fmla="*/ 44 w 154"/>
                <a:gd name="T5" fmla="*/ 57 h 155"/>
                <a:gd name="T6" fmla="*/ 39 w 154"/>
                <a:gd name="T7" fmla="*/ 70 h 155"/>
                <a:gd name="T8" fmla="*/ 39 w 154"/>
                <a:gd name="T9" fmla="*/ 85 h 155"/>
                <a:gd name="T10" fmla="*/ 44 w 154"/>
                <a:gd name="T11" fmla="*/ 100 h 155"/>
                <a:gd name="T12" fmla="*/ 54 w 154"/>
                <a:gd name="T13" fmla="*/ 110 h 155"/>
                <a:gd name="T14" fmla="*/ 69 w 154"/>
                <a:gd name="T15" fmla="*/ 116 h 155"/>
                <a:gd name="T16" fmla="*/ 85 w 154"/>
                <a:gd name="T17" fmla="*/ 116 h 155"/>
                <a:gd name="T18" fmla="*/ 98 w 154"/>
                <a:gd name="T19" fmla="*/ 110 h 155"/>
                <a:gd name="T20" fmla="*/ 109 w 154"/>
                <a:gd name="T21" fmla="*/ 100 h 155"/>
                <a:gd name="T22" fmla="*/ 115 w 154"/>
                <a:gd name="T23" fmla="*/ 85 h 155"/>
                <a:gd name="T24" fmla="*/ 115 w 154"/>
                <a:gd name="T25" fmla="*/ 70 h 155"/>
                <a:gd name="T26" fmla="*/ 109 w 154"/>
                <a:gd name="T27" fmla="*/ 57 h 155"/>
                <a:gd name="T28" fmla="*/ 98 w 154"/>
                <a:gd name="T29" fmla="*/ 46 h 155"/>
                <a:gd name="T30" fmla="*/ 85 w 154"/>
                <a:gd name="T31" fmla="*/ 39 h 155"/>
                <a:gd name="T32" fmla="*/ 76 w 154"/>
                <a:gd name="T33" fmla="*/ 155 h 155"/>
                <a:gd name="T34" fmla="*/ 62 w 154"/>
                <a:gd name="T35" fmla="*/ 153 h 155"/>
                <a:gd name="T36" fmla="*/ 46 w 154"/>
                <a:gd name="T37" fmla="*/ 149 h 155"/>
                <a:gd name="T38" fmla="*/ 21 w 154"/>
                <a:gd name="T39" fmla="*/ 133 h 155"/>
                <a:gd name="T40" fmla="*/ 5 w 154"/>
                <a:gd name="T41" fmla="*/ 108 h 155"/>
                <a:gd name="T42" fmla="*/ 1 w 154"/>
                <a:gd name="T43" fmla="*/ 94 h 155"/>
                <a:gd name="T44" fmla="*/ 0 w 154"/>
                <a:gd name="T45" fmla="*/ 78 h 155"/>
                <a:gd name="T46" fmla="*/ 1 w 154"/>
                <a:gd name="T47" fmla="*/ 62 h 155"/>
                <a:gd name="T48" fmla="*/ 5 w 154"/>
                <a:gd name="T49" fmla="*/ 48 h 155"/>
                <a:gd name="T50" fmla="*/ 21 w 154"/>
                <a:gd name="T51" fmla="*/ 23 h 155"/>
                <a:gd name="T52" fmla="*/ 46 w 154"/>
                <a:gd name="T53" fmla="*/ 6 h 155"/>
                <a:gd name="T54" fmla="*/ 62 w 154"/>
                <a:gd name="T55" fmla="*/ 2 h 155"/>
                <a:gd name="T56" fmla="*/ 76 w 154"/>
                <a:gd name="T57" fmla="*/ 0 h 155"/>
                <a:gd name="T58" fmla="*/ 92 w 154"/>
                <a:gd name="T59" fmla="*/ 2 h 155"/>
                <a:gd name="T60" fmla="*/ 106 w 154"/>
                <a:gd name="T61" fmla="*/ 6 h 155"/>
                <a:gd name="T62" fmla="*/ 131 w 154"/>
                <a:gd name="T63" fmla="*/ 23 h 155"/>
                <a:gd name="T64" fmla="*/ 148 w 154"/>
                <a:gd name="T65" fmla="*/ 48 h 155"/>
                <a:gd name="T66" fmla="*/ 152 w 154"/>
                <a:gd name="T67" fmla="*/ 62 h 155"/>
                <a:gd name="T68" fmla="*/ 154 w 154"/>
                <a:gd name="T69" fmla="*/ 78 h 155"/>
                <a:gd name="T70" fmla="*/ 152 w 154"/>
                <a:gd name="T71" fmla="*/ 94 h 155"/>
                <a:gd name="T72" fmla="*/ 148 w 154"/>
                <a:gd name="T73" fmla="*/ 108 h 155"/>
                <a:gd name="T74" fmla="*/ 131 w 154"/>
                <a:gd name="T75" fmla="*/ 133 h 155"/>
                <a:gd name="T76" fmla="*/ 106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2" y="42"/>
                  </a:lnTo>
                  <a:lnTo>
                    <a:pt x="54" y="46"/>
                  </a:lnTo>
                  <a:lnTo>
                    <a:pt x="49" y="51"/>
                  </a:lnTo>
                  <a:lnTo>
                    <a:pt x="44" y="57"/>
                  </a:lnTo>
                  <a:lnTo>
                    <a:pt x="41" y="62"/>
                  </a:lnTo>
                  <a:lnTo>
                    <a:pt x="39" y="70"/>
                  </a:lnTo>
                  <a:lnTo>
                    <a:pt x="39" y="78"/>
                  </a:lnTo>
                  <a:lnTo>
                    <a:pt x="39" y="85"/>
                  </a:lnTo>
                  <a:lnTo>
                    <a:pt x="41" y="93"/>
                  </a:lnTo>
                  <a:lnTo>
                    <a:pt x="44" y="100"/>
                  </a:lnTo>
                  <a:lnTo>
                    <a:pt x="49" y="106"/>
                  </a:lnTo>
                  <a:lnTo>
                    <a:pt x="54" y="110"/>
                  </a:lnTo>
                  <a:lnTo>
                    <a:pt x="62" y="113"/>
                  </a:lnTo>
                  <a:lnTo>
                    <a:pt x="69" y="116"/>
                  </a:lnTo>
                  <a:lnTo>
                    <a:pt x="76" y="117"/>
                  </a:lnTo>
                  <a:lnTo>
                    <a:pt x="85" y="116"/>
                  </a:lnTo>
                  <a:lnTo>
                    <a:pt x="92" y="113"/>
                  </a:lnTo>
                  <a:lnTo>
                    <a:pt x="98" y="110"/>
                  </a:lnTo>
                  <a:lnTo>
                    <a:pt x="103" y="106"/>
                  </a:lnTo>
                  <a:lnTo>
                    <a:pt x="109" y="100"/>
                  </a:lnTo>
                  <a:lnTo>
                    <a:pt x="112" y="93"/>
                  </a:lnTo>
                  <a:lnTo>
                    <a:pt x="115" y="85"/>
                  </a:lnTo>
                  <a:lnTo>
                    <a:pt x="115" y="78"/>
                  </a:lnTo>
                  <a:lnTo>
                    <a:pt x="115" y="70"/>
                  </a:lnTo>
                  <a:lnTo>
                    <a:pt x="112" y="62"/>
                  </a:lnTo>
                  <a:lnTo>
                    <a:pt x="109" y="57"/>
                  </a:lnTo>
                  <a:lnTo>
                    <a:pt x="103" y="51"/>
                  </a:lnTo>
                  <a:lnTo>
                    <a:pt x="98" y="46"/>
                  </a:lnTo>
                  <a:lnTo>
                    <a:pt x="92" y="42"/>
                  </a:lnTo>
                  <a:lnTo>
                    <a:pt x="85" y="39"/>
                  </a:lnTo>
                  <a:lnTo>
                    <a:pt x="76" y="39"/>
                  </a:lnTo>
                  <a:close/>
                  <a:moveTo>
                    <a:pt x="76" y="155"/>
                  </a:moveTo>
                  <a:lnTo>
                    <a:pt x="69" y="155"/>
                  </a:lnTo>
                  <a:lnTo>
                    <a:pt x="62" y="153"/>
                  </a:lnTo>
                  <a:lnTo>
                    <a:pt x="53" y="152"/>
                  </a:lnTo>
                  <a:lnTo>
                    <a:pt x="46" y="149"/>
                  </a:lnTo>
                  <a:lnTo>
                    <a:pt x="33" y="142"/>
                  </a:lnTo>
                  <a:lnTo>
                    <a:pt x="21" y="133"/>
                  </a:lnTo>
                  <a:lnTo>
                    <a:pt x="13" y="121"/>
                  </a:lnTo>
                  <a:lnTo>
                    <a:pt x="5" y="108"/>
                  </a:lnTo>
                  <a:lnTo>
                    <a:pt x="3" y="101"/>
                  </a:lnTo>
                  <a:lnTo>
                    <a:pt x="1" y="94"/>
                  </a:lnTo>
                  <a:lnTo>
                    <a:pt x="0" y="85"/>
                  </a:lnTo>
                  <a:lnTo>
                    <a:pt x="0" y="78"/>
                  </a:lnTo>
                  <a:lnTo>
                    <a:pt x="0" y="70"/>
                  </a:lnTo>
                  <a:lnTo>
                    <a:pt x="1" y="62"/>
                  </a:lnTo>
                  <a:lnTo>
                    <a:pt x="3" y="55"/>
                  </a:lnTo>
                  <a:lnTo>
                    <a:pt x="5" y="48"/>
                  </a:lnTo>
                  <a:lnTo>
                    <a:pt x="13" y="35"/>
                  </a:lnTo>
                  <a:lnTo>
                    <a:pt x="21" y="23"/>
                  </a:lnTo>
                  <a:lnTo>
                    <a:pt x="33" y="13"/>
                  </a:lnTo>
                  <a:lnTo>
                    <a:pt x="46" y="6"/>
                  </a:lnTo>
                  <a:lnTo>
                    <a:pt x="53" y="5"/>
                  </a:lnTo>
                  <a:lnTo>
                    <a:pt x="62" y="2"/>
                  </a:lnTo>
                  <a:lnTo>
                    <a:pt x="69" y="0"/>
                  </a:lnTo>
                  <a:lnTo>
                    <a:pt x="76" y="0"/>
                  </a:lnTo>
                  <a:lnTo>
                    <a:pt x="85" y="0"/>
                  </a:lnTo>
                  <a:lnTo>
                    <a:pt x="92" y="2"/>
                  </a:lnTo>
                  <a:lnTo>
                    <a:pt x="99" y="5"/>
                  </a:lnTo>
                  <a:lnTo>
                    <a:pt x="106" y="6"/>
                  </a:lnTo>
                  <a:lnTo>
                    <a:pt x="119" y="13"/>
                  </a:lnTo>
                  <a:lnTo>
                    <a:pt x="131" y="23"/>
                  </a:lnTo>
                  <a:lnTo>
                    <a:pt x="141" y="35"/>
                  </a:lnTo>
                  <a:lnTo>
                    <a:pt x="148" y="48"/>
                  </a:lnTo>
                  <a:lnTo>
                    <a:pt x="151" y="55"/>
                  </a:lnTo>
                  <a:lnTo>
                    <a:pt x="152" y="62"/>
                  </a:lnTo>
                  <a:lnTo>
                    <a:pt x="154" y="70"/>
                  </a:lnTo>
                  <a:lnTo>
                    <a:pt x="154" y="78"/>
                  </a:lnTo>
                  <a:lnTo>
                    <a:pt x="154" y="85"/>
                  </a:lnTo>
                  <a:lnTo>
                    <a:pt x="152" y="94"/>
                  </a:lnTo>
                  <a:lnTo>
                    <a:pt x="151" y="101"/>
                  </a:lnTo>
                  <a:lnTo>
                    <a:pt x="148" y="108"/>
                  </a:lnTo>
                  <a:lnTo>
                    <a:pt x="141" y="121"/>
                  </a:lnTo>
                  <a:lnTo>
                    <a:pt x="131" y="133"/>
                  </a:lnTo>
                  <a:lnTo>
                    <a:pt x="119" y="142"/>
                  </a:lnTo>
                  <a:lnTo>
                    <a:pt x="106" y="149"/>
                  </a:lnTo>
                  <a:lnTo>
                    <a:pt x="99" y="152"/>
                  </a:lnTo>
                  <a:lnTo>
                    <a:pt x="92" y="153"/>
                  </a:lnTo>
                  <a:lnTo>
                    <a:pt x="85" y="155"/>
                  </a:lnTo>
                  <a:lnTo>
                    <a:pt x="76"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40"/>
            <p:cNvSpPr>
              <a:spLocks noEditPoints="1"/>
            </p:cNvSpPr>
            <p:nvPr/>
          </p:nvSpPr>
          <p:spPr bwMode="auto">
            <a:xfrm>
              <a:off x="1524188" y="5538731"/>
              <a:ext cx="74256" cy="75712"/>
            </a:xfrm>
            <a:custGeom>
              <a:avLst/>
              <a:gdLst>
                <a:gd name="T0" fmla="*/ 69 w 154"/>
                <a:gd name="T1" fmla="*/ 39 h 155"/>
                <a:gd name="T2" fmla="*/ 54 w 154"/>
                <a:gd name="T3" fmla="*/ 46 h 155"/>
                <a:gd name="T4" fmla="*/ 44 w 154"/>
                <a:gd name="T5" fmla="*/ 57 h 155"/>
                <a:gd name="T6" fmla="*/ 38 w 154"/>
                <a:gd name="T7" fmla="*/ 70 h 155"/>
                <a:gd name="T8" fmla="*/ 38 w 154"/>
                <a:gd name="T9" fmla="*/ 85 h 155"/>
                <a:gd name="T10" fmla="*/ 44 w 154"/>
                <a:gd name="T11" fmla="*/ 100 h 155"/>
                <a:gd name="T12" fmla="*/ 54 w 154"/>
                <a:gd name="T13" fmla="*/ 110 h 155"/>
                <a:gd name="T14" fmla="*/ 69 w 154"/>
                <a:gd name="T15" fmla="*/ 116 h 155"/>
                <a:gd name="T16" fmla="*/ 84 w 154"/>
                <a:gd name="T17" fmla="*/ 116 h 155"/>
                <a:gd name="T18" fmla="*/ 97 w 154"/>
                <a:gd name="T19" fmla="*/ 110 h 155"/>
                <a:gd name="T20" fmla="*/ 109 w 154"/>
                <a:gd name="T21" fmla="*/ 100 h 155"/>
                <a:gd name="T22" fmla="*/ 115 w 154"/>
                <a:gd name="T23" fmla="*/ 85 h 155"/>
                <a:gd name="T24" fmla="*/ 115 w 154"/>
                <a:gd name="T25" fmla="*/ 70 h 155"/>
                <a:gd name="T26" fmla="*/ 109 w 154"/>
                <a:gd name="T27" fmla="*/ 57 h 155"/>
                <a:gd name="T28" fmla="*/ 97 w 154"/>
                <a:gd name="T29" fmla="*/ 46 h 155"/>
                <a:gd name="T30" fmla="*/ 84 w 154"/>
                <a:gd name="T31" fmla="*/ 39 h 155"/>
                <a:gd name="T32" fmla="*/ 76 w 154"/>
                <a:gd name="T33" fmla="*/ 155 h 155"/>
                <a:gd name="T34" fmla="*/ 61 w 154"/>
                <a:gd name="T35" fmla="*/ 153 h 155"/>
                <a:gd name="T36" fmla="*/ 46 w 154"/>
                <a:gd name="T37" fmla="*/ 149 h 155"/>
                <a:gd name="T38" fmla="*/ 21 w 154"/>
                <a:gd name="T39" fmla="*/ 133 h 155"/>
                <a:gd name="T40" fmla="*/ 5 w 154"/>
                <a:gd name="T41" fmla="*/ 108 h 155"/>
                <a:gd name="T42" fmla="*/ 1 w 154"/>
                <a:gd name="T43" fmla="*/ 94 h 155"/>
                <a:gd name="T44" fmla="*/ 0 w 154"/>
                <a:gd name="T45" fmla="*/ 78 h 155"/>
                <a:gd name="T46" fmla="*/ 1 w 154"/>
                <a:gd name="T47" fmla="*/ 62 h 155"/>
                <a:gd name="T48" fmla="*/ 5 w 154"/>
                <a:gd name="T49" fmla="*/ 48 h 155"/>
                <a:gd name="T50" fmla="*/ 21 w 154"/>
                <a:gd name="T51" fmla="*/ 23 h 155"/>
                <a:gd name="T52" fmla="*/ 46 w 154"/>
                <a:gd name="T53" fmla="*/ 6 h 155"/>
                <a:gd name="T54" fmla="*/ 61 w 154"/>
                <a:gd name="T55" fmla="*/ 2 h 155"/>
                <a:gd name="T56" fmla="*/ 76 w 154"/>
                <a:gd name="T57" fmla="*/ 0 h 155"/>
                <a:gd name="T58" fmla="*/ 92 w 154"/>
                <a:gd name="T59" fmla="*/ 2 h 155"/>
                <a:gd name="T60" fmla="*/ 106 w 154"/>
                <a:gd name="T61" fmla="*/ 6 h 155"/>
                <a:gd name="T62" fmla="*/ 131 w 154"/>
                <a:gd name="T63" fmla="*/ 23 h 155"/>
                <a:gd name="T64" fmla="*/ 148 w 154"/>
                <a:gd name="T65" fmla="*/ 48 h 155"/>
                <a:gd name="T66" fmla="*/ 152 w 154"/>
                <a:gd name="T67" fmla="*/ 62 h 155"/>
                <a:gd name="T68" fmla="*/ 154 w 154"/>
                <a:gd name="T69" fmla="*/ 78 h 155"/>
                <a:gd name="T70" fmla="*/ 152 w 154"/>
                <a:gd name="T71" fmla="*/ 94 h 155"/>
                <a:gd name="T72" fmla="*/ 148 w 154"/>
                <a:gd name="T73" fmla="*/ 108 h 155"/>
                <a:gd name="T74" fmla="*/ 131 w 154"/>
                <a:gd name="T75" fmla="*/ 133 h 155"/>
                <a:gd name="T76" fmla="*/ 106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1" y="42"/>
                  </a:lnTo>
                  <a:lnTo>
                    <a:pt x="54" y="46"/>
                  </a:lnTo>
                  <a:lnTo>
                    <a:pt x="48" y="51"/>
                  </a:lnTo>
                  <a:lnTo>
                    <a:pt x="44" y="57"/>
                  </a:lnTo>
                  <a:lnTo>
                    <a:pt x="41" y="62"/>
                  </a:lnTo>
                  <a:lnTo>
                    <a:pt x="38" y="70"/>
                  </a:lnTo>
                  <a:lnTo>
                    <a:pt x="38" y="78"/>
                  </a:lnTo>
                  <a:lnTo>
                    <a:pt x="38" y="85"/>
                  </a:lnTo>
                  <a:lnTo>
                    <a:pt x="41" y="93"/>
                  </a:lnTo>
                  <a:lnTo>
                    <a:pt x="44" y="100"/>
                  </a:lnTo>
                  <a:lnTo>
                    <a:pt x="48" y="106"/>
                  </a:lnTo>
                  <a:lnTo>
                    <a:pt x="54" y="110"/>
                  </a:lnTo>
                  <a:lnTo>
                    <a:pt x="61" y="113"/>
                  </a:lnTo>
                  <a:lnTo>
                    <a:pt x="69" y="116"/>
                  </a:lnTo>
                  <a:lnTo>
                    <a:pt x="76" y="117"/>
                  </a:lnTo>
                  <a:lnTo>
                    <a:pt x="84" y="116"/>
                  </a:lnTo>
                  <a:lnTo>
                    <a:pt x="92" y="113"/>
                  </a:lnTo>
                  <a:lnTo>
                    <a:pt x="97" y="110"/>
                  </a:lnTo>
                  <a:lnTo>
                    <a:pt x="103" y="106"/>
                  </a:lnTo>
                  <a:lnTo>
                    <a:pt x="109" y="100"/>
                  </a:lnTo>
                  <a:lnTo>
                    <a:pt x="112" y="93"/>
                  </a:lnTo>
                  <a:lnTo>
                    <a:pt x="115" y="85"/>
                  </a:lnTo>
                  <a:lnTo>
                    <a:pt x="115" y="78"/>
                  </a:lnTo>
                  <a:lnTo>
                    <a:pt x="115" y="70"/>
                  </a:lnTo>
                  <a:lnTo>
                    <a:pt x="112" y="62"/>
                  </a:lnTo>
                  <a:lnTo>
                    <a:pt x="109" y="57"/>
                  </a:lnTo>
                  <a:lnTo>
                    <a:pt x="103" y="51"/>
                  </a:lnTo>
                  <a:lnTo>
                    <a:pt x="97" y="46"/>
                  </a:lnTo>
                  <a:lnTo>
                    <a:pt x="92" y="42"/>
                  </a:lnTo>
                  <a:lnTo>
                    <a:pt x="84" y="39"/>
                  </a:lnTo>
                  <a:lnTo>
                    <a:pt x="76" y="39"/>
                  </a:lnTo>
                  <a:close/>
                  <a:moveTo>
                    <a:pt x="76" y="155"/>
                  </a:moveTo>
                  <a:lnTo>
                    <a:pt x="69" y="155"/>
                  </a:lnTo>
                  <a:lnTo>
                    <a:pt x="61" y="153"/>
                  </a:lnTo>
                  <a:lnTo>
                    <a:pt x="53" y="152"/>
                  </a:lnTo>
                  <a:lnTo>
                    <a:pt x="46" y="149"/>
                  </a:lnTo>
                  <a:lnTo>
                    <a:pt x="33" y="142"/>
                  </a:lnTo>
                  <a:lnTo>
                    <a:pt x="21" y="133"/>
                  </a:lnTo>
                  <a:lnTo>
                    <a:pt x="12" y="121"/>
                  </a:lnTo>
                  <a:lnTo>
                    <a:pt x="5" y="108"/>
                  </a:lnTo>
                  <a:lnTo>
                    <a:pt x="2" y="101"/>
                  </a:lnTo>
                  <a:lnTo>
                    <a:pt x="1" y="94"/>
                  </a:lnTo>
                  <a:lnTo>
                    <a:pt x="0" y="85"/>
                  </a:lnTo>
                  <a:lnTo>
                    <a:pt x="0" y="78"/>
                  </a:lnTo>
                  <a:lnTo>
                    <a:pt x="0" y="70"/>
                  </a:lnTo>
                  <a:lnTo>
                    <a:pt x="1" y="62"/>
                  </a:lnTo>
                  <a:lnTo>
                    <a:pt x="2" y="55"/>
                  </a:lnTo>
                  <a:lnTo>
                    <a:pt x="5" y="48"/>
                  </a:lnTo>
                  <a:lnTo>
                    <a:pt x="12" y="35"/>
                  </a:lnTo>
                  <a:lnTo>
                    <a:pt x="21" y="23"/>
                  </a:lnTo>
                  <a:lnTo>
                    <a:pt x="33" y="13"/>
                  </a:lnTo>
                  <a:lnTo>
                    <a:pt x="46" y="6"/>
                  </a:lnTo>
                  <a:lnTo>
                    <a:pt x="53" y="5"/>
                  </a:lnTo>
                  <a:lnTo>
                    <a:pt x="61" y="2"/>
                  </a:lnTo>
                  <a:lnTo>
                    <a:pt x="69" y="0"/>
                  </a:lnTo>
                  <a:lnTo>
                    <a:pt x="76" y="0"/>
                  </a:lnTo>
                  <a:lnTo>
                    <a:pt x="84" y="0"/>
                  </a:lnTo>
                  <a:lnTo>
                    <a:pt x="92" y="2"/>
                  </a:lnTo>
                  <a:lnTo>
                    <a:pt x="99" y="5"/>
                  </a:lnTo>
                  <a:lnTo>
                    <a:pt x="106" y="6"/>
                  </a:lnTo>
                  <a:lnTo>
                    <a:pt x="119" y="13"/>
                  </a:lnTo>
                  <a:lnTo>
                    <a:pt x="131" y="23"/>
                  </a:lnTo>
                  <a:lnTo>
                    <a:pt x="141" y="35"/>
                  </a:lnTo>
                  <a:lnTo>
                    <a:pt x="148" y="48"/>
                  </a:lnTo>
                  <a:lnTo>
                    <a:pt x="151" y="55"/>
                  </a:lnTo>
                  <a:lnTo>
                    <a:pt x="152" y="62"/>
                  </a:lnTo>
                  <a:lnTo>
                    <a:pt x="154" y="70"/>
                  </a:lnTo>
                  <a:lnTo>
                    <a:pt x="154" y="78"/>
                  </a:lnTo>
                  <a:lnTo>
                    <a:pt x="154" y="85"/>
                  </a:lnTo>
                  <a:lnTo>
                    <a:pt x="152" y="94"/>
                  </a:lnTo>
                  <a:lnTo>
                    <a:pt x="151" y="101"/>
                  </a:lnTo>
                  <a:lnTo>
                    <a:pt x="148" y="108"/>
                  </a:lnTo>
                  <a:lnTo>
                    <a:pt x="141" y="121"/>
                  </a:lnTo>
                  <a:lnTo>
                    <a:pt x="131" y="133"/>
                  </a:lnTo>
                  <a:lnTo>
                    <a:pt x="119" y="142"/>
                  </a:lnTo>
                  <a:lnTo>
                    <a:pt x="106" y="149"/>
                  </a:lnTo>
                  <a:lnTo>
                    <a:pt x="99" y="152"/>
                  </a:lnTo>
                  <a:lnTo>
                    <a:pt x="92" y="153"/>
                  </a:lnTo>
                  <a:lnTo>
                    <a:pt x="84" y="155"/>
                  </a:lnTo>
                  <a:lnTo>
                    <a:pt x="76"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42"/>
            <p:cNvSpPr>
              <a:spLocks/>
            </p:cNvSpPr>
            <p:nvPr/>
          </p:nvSpPr>
          <p:spPr bwMode="auto">
            <a:xfrm>
              <a:off x="1393149" y="5164541"/>
              <a:ext cx="131039" cy="74256"/>
            </a:xfrm>
            <a:custGeom>
              <a:avLst/>
              <a:gdLst>
                <a:gd name="T0" fmla="*/ 250 w 271"/>
                <a:gd name="T1" fmla="*/ 154 h 154"/>
                <a:gd name="T2" fmla="*/ 247 w 271"/>
                <a:gd name="T3" fmla="*/ 154 h 154"/>
                <a:gd name="T4" fmla="*/ 243 w 271"/>
                <a:gd name="T5" fmla="*/ 153 h 154"/>
                <a:gd name="T6" fmla="*/ 240 w 271"/>
                <a:gd name="T7" fmla="*/ 152 h 154"/>
                <a:gd name="T8" fmla="*/ 237 w 271"/>
                <a:gd name="T9" fmla="*/ 149 h 154"/>
                <a:gd name="T10" fmla="*/ 135 w 271"/>
                <a:gd name="T11" fmla="*/ 46 h 154"/>
                <a:gd name="T12" fmla="*/ 33 w 271"/>
                <a:gd name="T13" fmla="*/ 149 h 154"/>
                <a:gd name="T14" fmla="*/ 30 w 271"/>
                <a:gd name="T15" fmla="*/ 152 h 154"/>
                <a:gd name="T16" fmla="*/ 26 w 271"/>
                <a:gd name="T17" fmla="*/ 153 h 154"/>
                <a:gd name="T18" fmla="*/ 23 w 271"/>
                <a:gd name="T19" fmla="*/ 154 h 154"/>
                <a:gd name="T20" fmla="*/ 19 w 271"/>
                <a:gd name="T21" fmla="*/ 154 h 154"/>
                <a:gd name="T22" fmla="*/ 16 w 271"/>
                <a:gd name="T23" fmla="*/ 154 h 154"/>
                <a:gd name="T24" fmla="*/ 11 w 271"/>
                <a:gd name="T25" fmla="*/ 153 h 154"/>
                <a:gd name="T26" fmla="*/ 8 w 271"/>
                <a:gd name="T27" fmla="*/ 152 h 154"/>
                <a:gd name="T28" fmla="*/ 6 w 271"/>
                <a:gd name="T29" fmla="*/ 149 h 154"/>
                <a:gd name="T30" fmla="*/ 3 w 271"/>
                <a:gd name="T31" fmla="*/ 146 h 154"/>
                <a:gd name="T32" fmla="*/ 1 w 271"/>
                <a:gd name="T33" fmla="*/ 143 h 154"/>
                <a:gd name="T34" fmla="*/ 0 w 271"/>
                <a:gd name="T35" fmla="*/ 139 h 154"/>
                <a:gd name="T36" fmla="*/ 0 w 271"/>
                <a:gd name="T37" fmla="*/ 136 h 154"/>
                <a:gd name="T38" fmla="*/ 0 w 271"/>
                <a:gd name="T39" fmla="*/ 131 h 154"/>
                <a:gd name="T40" fmla="*/ 1 w 271"/>
                <a:gd name="T41" fmla="*/ 129 h 154"/>
                <a:gd name="T42" fmla="*/ 3 w 271"/>
                <a:gd name="T43" fmla="*/ 124 h 154"/>
                <a:gd name="T44" fmla="*/ 6 w 271"/>
                <a:gd name="T45" fmla="*/ 121 h 154"/>
                <a:gd name="T46" fmla="*/ 121 w 271"/>
                <a:gd name="T47" fmla="*/ 6 h 154"/>
                <a:gd name="T48" fmla="*/ 124 w 271"/>
                <a:gd name="T49" fmla="*/ 3 h 154"/>
                <a:gd name="T50" fmla="*/ 128 w 271"/>
                <a:gd name="T51" fmla="*/ 2 h 154"/>
                <a:gd name="T52" fmla="*/ 131 w 271"/>
                <a:gd name="T53" fmla="*/ 0 h 154"/>
                <a:gd name="T54" fmla="*/ 135 w 271"/>
                <a:gd name="T55" fmla="*/ 0 h 154"/>
                <a:gd name="T56" fmla="*/ 138 w 271"/>
                <a:gd name="T57" fmla="*/ 0 h 154"/>
                <a:gd name="T58" fmla="*/ 142 w 271"/>
                <a:gd name="T59" fmla="*/ 2 h 154"/>
                <a:gd name="T60" fmla="*/ 145 w 271"/>
                <a:gd name="T61" fmla="*/ 3 h 154"/>
                <a:gd name="T62" fmla="*/ 148 w 271"/>
                <a:gd name="T63" fmla="*/ 6 h 154"/>
                <a:gd name="T64" fmla="*/ 265 w 271"/>
                <a:gd name="T65" fmla="*/ 121 h 154"/>
                <a:gd name="T66" fmla="*/ 266 w 271"/>
                <a:gd name="T67" fmla="*/ 124 h 154"/>
                <a:gd name="T68" fmla="*/ 269 w 271"/>
                <a:gd name="T69" fmla="*/ 129 h 154"/>
                <a:gd name="T70" fmla="*/ 269 w 271"/>
                <a:gd name="T71" fmla="*/ 131 h 154"/>
                <a:gd name="T72" fmla="*/ 271 w 271"/>
                <a:gd name="T73" fmla="*/ 136 h 154"/>
                <a:gd name="T74" fmla="*/ 269 w 271"/>
                <a:gd name="T75" fmla="*/ 139 h 154"/>
                <a:gd name="T76" fmla="*/ 269 w 271"/>
                <a:gd name="T77" fmla="*/ 143 h 154"/>
                <a:gd name="T78" fmla="*/ 266 w 271"/>
                <a:gd name="T79" fmla="*/ 146 h 154"/>
                <a:gd name="T80" fmla="*/ 265 w 271"/>
                <a:gd name="T81" fmla="*/ 149 h 154"/>
                <a:gd name="T82" fmla="*/ 262 w 271"/>
                <a:gd name="T83" fmla="*/ 152 h 154"/>
                <a:gd name="T84" fmla="*/ 258 w 271"/>
                <a:gd name="T85" fmla="*/ 153 h 154"/>
                <a:gd name="T86" fmla="*/ 255 w 271"/>
                <a:gd name="T87" fmla="*/ 154 h 154"/>
                <a:gd name="T88" fmla="*/ 250 w 271"/>
                <a:gd name="T8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 h="154">
                  <a:moveTo>
                    <a:pt x="250" y="154"/>
                  </a:moveTo>
                  <a:lnTo>
                    <a:pt x="247" y="154"/>
                  </a:lnTo>
                  <a:lnTo>
                    <a:pt x="243" y="153"/>
                  </a:lnTo>
                  <a:lnTo>
                    <a:pt x="240" y="152"/>
                  </a:lnTo>
                  <a:lnTo>
                    <a:pt x="237" y="149"/>
                  </a:lnTo>
                  <a:lnTo>
                    <a:pt x="135" y="46"/>
                  </a:lnTo>
                  <a:lnTo>
                    <a:pt x="33" y="149"/>
                  </a:lnTo>
                  <a:lnTo>
                    <a:pt x="30" y="152"/>
                  </a:lnTo>
                  <a:lnTo>
                    <a:pt x="26" y="153"/>
                  </a:lnTo>
                  <a:lnTo>
                    <a:pt x="23" y="154"/>
                  </a:lnTo>
                  <a:lnTo>
                    <a:pt x="19" y="154"/>
                  </a:lnTo>
                  <a:lnTo>
                    <a:pt x="16" y="154"/>
                  </a:lnTo>
                  <a:lnTo>
                    <a:pt x="11" y="153"/>
                  </a:lnTo>
                  <a:lnTo>
                    <a:pt x="8" y="152"/>
                  </a:lnTo>
                  <a:lnTo>
                    <a:pt x="6" y="149"/>
                  </a:lnTo>
                  <a:lnTo>
                    <a:pt x="3" y="146"/>
                  </a:lnTo>
                  <a:lnTo>
                    <a:pt x="1" y="143"/>
                  </a:lnTo>
                  <a:lnTo>
                    <a:pt x="0" y="139"/>
                  </a:lnTo>
                  <a:lnTo>
                    <a:pt x="0" y="136"/>
                  </a:lnTo>
                  <a:lnTo>
                    <a:pt x="0" y="131"/>
                  </a:lnTo>
                  <a:lnTo>
                    <a:pt x="1" y="129"/>
                  </a:lnTo>
                  <a:lnTo>
                    <a:pt x="3" y="124"/>
                  </a:lnTo>
                  <a:lnTo>
                    <a:pt x="6" y="121"/>
                  </a:lnTo>
                  <a:lnTo>
                    <a:pt x="121" y="6"/>
                  </a:lnTo>
                  <a:lnTo>
                    <a:pt x="124" y="3"/>
                  </a:lnTo>
                  <a:lnTo>
                    <a:pt x="128" y="2"/>
                  </a:lnTo>
                  <a:lnTo>
                    <a:pt x="131" y="0"/>
                  </a:lnTo>
                  <a:lnTo>
                    <a:pt x="135" y="0"/>
                  </a:lnTo>
                  <a:lnTo>
                    <a:pt x="138" y="0"/>
                  </a:lnTo>
                  <a:lnTo>
                    <a:pt x="142" y="2"/>
                  </a:lnTo>
                  <a:lnTo>
                    <a:pt x="145" y="3"/>
                  </a:lnTo>
                  <a:lnTo>
                    <a:pt x="148" y="6"/>
                  </a:lnTo>
                  <a:lnTo>
                    <a:pt x="265" y="121"/>
                  </a:lnTo>
                  <a:lnTo>
                    <a:pt x="266" y="124"/>
                  </a:lnTo>
                  <a:lnTo>
                    <a:pt x="269" y="129"/>
                  </a:lnTo>
                  <a:lnTo>
                    <a:pt x="269" y="131"/>
                  </a:lnTo>
                  <a:lnTo>
                    <a:pt x="271" y="136"/>
                  </a:lnTo>
                  <a:lnTo>
                    <a:pt x="269" y="139"/>
                  </a:lnTo>
                  <a:lnTo>
                    <a:pt x="269" y="143"/>
                  </a:lnTo>
                  <a:lnTo>
                    <a:pt x="266" y="146"/>
                  </a:lnTo>
                  <a:lnTo>
                    <a:pt x="265" y="149"/>
                  </a:lnTo>
                  <a:lnTo>
                    <a:pt x="262" y="152"/>
                  </a:lnTo>
                  <a:lnTo>
                    <a:pt x="258" y="153"/>
                  </a:lnTo>
                  <a:lnTo>
                    <a:pt x="255" y="154"/>
                  </a:lnTo>
                  <a:lnTo>
                    <a:pt x="25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43"/>
            <p:cNvSpPr>
              <a:spLocks/>
            </p:cNvSpPr>
            <p:nvPr/>
          </p:nvSpPr>
          <p:spPr bwMode="auto">
            <a:xfrm>
              <a:off x="1345101" y="5221325"/>
              <a:ext cx="365454" cy="336334"/>
            </a:xfrm>
            <a:custGeom>
              <a:avLst/>
              <a:gdLst>
                <a:gd name="T0" fmla="*/ 444 w 753"/>
                <a:gd name="T1" fmla="*/ 695 h 695"/>
                <a:gd name="T2" fmla="*/ 19 w 753"/>
                <a:gd name="T3" fmla="*/ 695 h 695"/>
                <a:gd name="T4" fmla="*/ 16 w 753"/>
                <a:gd name="T5" fmla="*/ 695 h 695"/>
                <a:gd name="T6" fmla="*/ 12 w 753"/>
                <a:gd name="T7" fmla="*/ 694 h 695"/>
                <a:gd name="T8" fmla="*/ 9 w 753"/>
                <a:gd name="T9" fmla="*/ 692 h 695"/>
                <a:gd name="T10" fmla="*/ 6 w 753"/>
                <a:gd name="T11" fmla="*/ 690 h 695"/>
                <a:gd name="T12" fmla="*/ 3 w 753"/>
                <a:gd name="T13" fmla="*/ 687 h 695"/>
                <a:gd name="T14" fmla="*/ 2 w 753"/>
                <a:gd name="T15" fmla="*/ 684 h 695"/>
                <a:gd name="T16" fmla="*/ 0 w 753"/>
                <a:gd name="T17" fmla="*/ 679 h 695"/>
                <a:gd name="T18" fmla="*/ 0 w 753"/>
                <a:gd name="T19" fmla="*/ 677 h 695"/>
                <a:gd name="T20" fmla="*/ 0 w 753"/>
                <a:gd name="T21" fmla="*/ 672 h 695"/>
                <a:gd name="T22" fmla="*/ 2 w 753"/>
                <a:gd name="T23" fmla="*/ 668 h 695"/>
                <a:gd name="T24" fmla="*/ 3 w 753"/>
                <a:gd name="T25" fmla="*/ 665 h 695"/>
                <a:gd name="T26" fmla="*/ 6 w 753"/>
                <a:gd name="T27" fmla="*/ 662 h 695"/>
                <a:gd name="T28" fmla="*/ 9 w 753"/>
                <a:gd name="T29" fmla="*/ 659 h 695"/>
                <a:gd name="T30" fmla="*/ 12 w 753"/>
                <a:gd name="T31" fmla="*/ 658 h 695"/>
                <a:gd name="T32" fmla="*/ 16 w 753"/>
                <a:gd name="T33" fmla="*/ 656 h 695"/>
                <a:gd name="T34" fmla="*/ 19 w 753"/>
                <a:gd name="T35" fmla="*/ 656 h 695"/>
                <a:gd name="T36" fmla="*/ 429 w 753"/>
                <a:gd name="T37" fmla="*/ 656 h 695"/>
                <a:gd name="T38" fmla="*/ 581 w 753"/>
                <a:gd name="T39" fmla="*/ 15 h 695"/>
                <a:gd name="T40" fmla="*/ 582 w 753"/>
                <a:gd name="T41" fmla="*/ 8 h 695"/>
                <a:gd name="T42" fmla="*/ 586 w 753"/>
                <a:gd name="T43" fmla="*/ 4 h 695"/>
                <a:gd name="T44" fmla="*/ 592 w 753"/>
                <a:gd name="T45" fmla="*/ 1 h 695"/>
                <a:gd name="T46" fmla="*/ 599 w 753"/>
                <a:gd name="T47" fmla="*/ 0 h 695"/>
                <a:gd name="T48" fmla="*/ 733 w 753"/>
                <a:gd name="T49" fmla="*/ 0 h 695"/>
                <a:gd name="T50" fmla="*/ 738 w 753"/>
                <a:gd name="T51" fmla="*/ 0 h 695"/>
                <a:gd name="T52" fmla="*/ 742 w 753"/>
                <a:gd name="T53" fmla="*/ 1 h 695"/>
                <a:gd name="T54" fmla="*/ 745 w 753"/>
                <a:gd name="T55" fmla="*/ 2 h 695"/>
                <a:gd name="T56" fmla="*/ 748 w 753"/>
                <a:gd name="T57" fmla="*/ 5 h 695"/>
                <a:gd name="T58" fmla="*/ 751 w 753"/>
                <a:gd name="T59" fmla="*/ 8 h 695"/>
                <a:gd name="T60" fmla="*/ 752 w 753"/>
                <a:gd name="T61" fmla="*/ 11 h 695"/>
                <a:gd name="T62" fmla="*/ 753 w 753"/>
                <a:gd name="T63" fmla="*/ 15 h 695"/>
                <a:gd name="T64" fmla="*/ 753 w 753"/>
                <a:gd name="T65" fmla="*/ 20 h 695"/>
                <a:gd name="T66" fmla="*/ 753 w 753"/>
                <a:gd name="T67" fmla="*/ 23 h 695"/>
                <a:gd name="T68" fmla="*/ 752 w 753"/>
                <a:gd name="T69" fmla="*/ 27 h 695"/>
                <a:gd name="T70" fmla="*/ 751 w 753"/>
                <a:gd name="T71" fmla="*/ 30 h 695"/>
                <a:gd name="T72" fmla="*/ 748 w 753"/>
                <a:gd name="T73" fmla="*/ 33 h 695"/>
                <a:gd name="T74" fmla="*/ 745 w 753"/>
                <a:gd name="T75" fmla="*/ 36 h 695"/>
                <a:gd name="T76" fmla="*/ 742 w 753"/>
                <a:gd name="T77" fmla="*/ 37 h 695"/>
                <a:gd name="T78" fmla="*/ 738 w 753"/>
                <a:gd name="T79" fmla="*/ 38 h 695"/>
                <a:gd name="T80" fmla="*/ 733 w 753"/>
                <a:gd name="T81" fmla="*/ 38 h 695"/>
                <a:gd name="T82" fmla="*/ 614 w 753"/>
                <a:gd name="T83" fmla="*/ 38 h 695"/>
                <a:gd name="T84" fmla="*/ 463 w 753"/>
                <a:gd name="T85" fmla="*/ 681 h 695"/>
                <a:gd name="T86" fmla="*/ 461 w 753"/>
                <a:gd name="T87" fmla="*/ 687 h 695"/>
                <a:gd name="T88" fmla="*/ 457 w 753"/>
                <a:gd name="T89" fmla="*/ 691 h 695"/>
                <a:gd name="T90" fmla="*/ 451 w 753"/>
                <a:gd name="T91" fmla="*/ 694 h 695"/>
                <a:gd name="T92" fmla="*/ 444 w 753"/>
                <a:gd name="T93"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3" h="695">
                  <a:moveTo>
                    <a:pt x="444" y="695"/>
                  </a:moveTo>
                  <a:lnTo>
                    <a:pt x="19" y="695"/>
                  </a:lnTo>
                  <a:lnTo>
                    <a:pt x="16" y="695"/>
                  </a:lnTo>
                  <a:lnTo>
                    <a:pt x="12" y="694"/>
                  </a:lnTo>
                  <a:lnTo>
                    <a:pt x="9" y="692"/>
                  </a:lnTo>
                  <a:lnTo>
                    <a:pt x="6" y="690"/>
                  </a:lnTo>
                  <a:lnTo>
                    <a:pt x="3" y="687"/>
                  </a:lnTo>
                  <a:lnTo>
                    <a:pt x="2" y="684"/>
                  </a:lnTo>
                  <a:lnTo>
                    <a:pt x="0" y="679"/>
                  </a:lnTo>
                  <a:lnTo>
                    <a:pt x="0" y="677"/>
                  </a:lnTo>
                  <a:lnTo>
                    <a:pt x="0" y="672"/>
                  </a:lnTo>
                  <a:lnTo>
                    <a:pt x="2" y="668"/>
                  </a:lnTo>
                  <a:lnTo>
                    <a:pt x="3" y="665"/>
                  </a:lnTo>
                  <a:lnTo>
                    <a:pt x="6" y="662"/>
                  </a:lnTo>
                  <a:lnTo>
                    <a:pt x="9" y="659"/>
                  </a:lnTo>
                  <a:lnTo>
                    <a:pt x="12" y="658"/>
                  </a:lnTo>
                  <a:lnTo>
                    <a:pt x="16" y="656"/>
                  </a:lnTo>
                  <a:lnTo>
                    <a:pt x="19" y="656"/>
                  </a:lnTo>
                  <a:lnTo>
                    <a:pt x="429" y="656"/>
                  </a:lnTo>
                  <a:lnTo>
                    <a:pt x="581" y="15"/>
                  </a:lnTo>
                  <a:lnTo>
                    <a:pt x="582" y="8"/>
                  </a:lnTo>
                  <a:lnTo>
                    <a:pt x="586" y="4"/>
                  </a:lnTo>
                  <a:lnTo>
                    <a:pt x="592" y="1"/>
                  </a:lnTo>
                  <a:lnTo>
                    <a:pt x="599" y="0"/>
                  </a:lnTo>
                  <a:lnTo>
                    <a:pt x="733" y="0"/>
                  </a:lnTo>
                  <a:lnTo>
                    <a:pt x="738" y="0"/>
                  </a:lnTo>
                  <a:lnTo>
                    <a:pt x="742" y="1"/>
                  </a:lnTo>
                  <a:lnTo>
                    <a:pt x="745" y="2"/>
                  </a:lnTo>
                  <a:lnTo>
                    <a:pt x="748" y="5"/>
                  </a:lnTo>
                  <a:lnTo>
                    <a:pt x="751" y="8"/>
                  </a:lnTo>
                  <a:lnTo>
                    <a:pt x="752" y="11"/>
                  </a:lnTo>
                  <a:lnTo>
                    <a:pt x="753" y="15"/>
                  </a:lnTo>
                  <a:lnTo>
                    <a:pt x="753" y="20"/>
                  </a:lnTo>
                  <a:lnTo>
                    <a:pt x="753" y="23"/>
                  </a:lnTo>
                  <a:lnTo>
                    <a:pt x="752" y="27"/>
                  </a:lnTo>
                  <a:lnTo>
                    <a:pt x="751" y="30"/>
                  </a:lnTo>
                  <a:lnTo>
                    <a:pt x="748" y="33"/>
                  </a:lnTo>
                  <a:lnTo>
                    <a:pt x="745" y="36"/>
                  </a:lnTo>
                  <a:lnTo>
                    <a:pt x="742" y="37"/>
                  </a:lnTo>
                  <a:lnTo>
                    <a:pt x="738" y="38"/>
                  </a:lnTo>
                  <a:lnTo>
                    <a:pt x="733" y="38"/>
                  </a:lnTo>
                  <a:lnTo>
                    <a:pt x="614" y="38"/>
                  </a:lnTo>
                  <a:lnTo>
                    <a:pt x="463" y="681"/>
                  </a:lnTo>
                  <a:lnTo>
                    <a:pt x="461" y="687"/>
                  </a:lnTo>
                  <a:lnTo>
                    <a:pt x="457" y="691"/>
                  </a:lnTo>
                  <a:lnTo>
                    <a:pt x="451" y="694"/>
                  </a:lnTo>
                  <a:lnTo>
                    <a:pt x="444" y="6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44"/>
            <p:cNvSpPr>
              <a:spLocks/>
            </p:cNvSpPr>
            <p:nvPr/>
          </p:nvSpPr>
          <p:spPr bwMode="auto">
            <a:xfrm>
              <a:off x="1260653" y="5333436"/>
              <a:ext cx="356718" cy="187823"/>
            </a:xfrm>
            <a:custGeom>
              <a:avLst/>
              <a:gdLst>
                <a:gd name="T0" fmla="*/ 638 w 734"/>
                <a:gd name="T1" fmla="*/ 387 h 387"/>
                <a:gd name="T2" fmla="*/ 135 w 734"/>
                <a:gd name="T3" fmla="*/ 387 h 387"/>
                <a:gd name="T4" fmla="*/ 130 w 734"/>
                <a:gd name="T5" fmla="*/ 387 h 387"/>
                <a:gd name="T6" fmla="*/ 124 w 734"/>
                <a:gd name="T7" fmla="*/ 384 h 387"/>
                <a:gd name="T8" fmla="*/ 120 w 734"/>
                <a:gd name="T9" fmla="*/ 379 h 387"/>
                <a:gd name="T10" fmla="*/ 117 w 734"/>
                <a:gd name="T11" fmla="*/ 374 h 387"/>
                <a:gd name="T12" fmla="*/ 2 w 734"/>
                <a:gd name="T13" fmla="*/ 26 h 387"/>
                <a:gd name="T14" fmla="*/ 0 w 734"/>
                <a:gd name="T15" fmla="*/ 22 h 387"/>
                <a:gd name="T16" fmla="*/ 0 w 734"/>
                <a:gd name="T17" fmla="*/ 16 h 387"/>
                <a:gd name="T18" fmla="*/ 2 w 734"/>
                <a:gd name="T19" fmla="*/ 12 h 387"/>
                <a:gd name="T20" fmla="*/ 4 w 734"/>
                <a:gd name="T21" fmla="*/ 9 h 387"/>
                <a:gd name="T22" fmla="*/ 7 w 734"/>
                <a:gd name="T23" fmla="*/ 5 h 387"/>
                <a:gd name="T24" fmla="*/ 12 w 734"/>
                <a:gd name="T25" fmla="*/ 3 h 387"/>
                <a:gd name="T26" fmla="*/ 14 w 734"/>
                <a:gd name="T27" fmla="*/ 0 h 387"/>
                <a:gd name="T28" fmla="*/ 20 w 734"/>
                <a:gd name="T29" fmla="*/ 0 h 387"/>
                <a:gd name="T30" fmla="*/ 714 w 734"/>
                <a:gd name="T31" fmla="*/ 0 h 387"/>
                <a:gd name="T32" fmla="*/ 719 w 734"/>
                <a:gd name="T33" fmla="*/ 0 h 387"/>
                <a:gd name="T34" fmla="*/ 723 w 734"/>
                <a:gd name="T35" fmla="*/ 2 h 387"/>
                <a:gd name="T36" fmla="*/ 726 w 734"/>
                <a:gd name="T37" fmla="*/ 3 h 387"/>
                <a:gd name="T38" fmla="*/ 729 w 734"/>
                <a:gd name="T39" fmla="*/ 6 h 387"/>
                <a:gd name="T40" fmla="*/ 732 w 734"/>
                <a:gd name="T41" fmla="*/ 9 h 387"/>
                <a:gd name="T42" fmla="*/ 733 w 734"/>
                <a:gd name="T43" fmla="*/ 12 h 387"/>
                <a:gd name="T44" fmla="*/ 734 w 734"/>
                <a:gd name="T45" fmla="*/ 16 h 387"/>
                <a:gd name="T46" fmla="*/ 734 w 734"/>
                <a:gd name="T47" fmla="*/ 21 h 387"/>
                <a:gd name="T48" fmla="*/ 734 w 734"/>
                <a:gd name="T49" fmla="*/ 24 h 387"/>
                <a:gd name="T50" fmla="*/ 733 w 734"/>
                <a:gd name="T51" fmla="*/ 28 h 387"/>
                <a:gd name="T52" fmla="*/ 732 w 734"/>
                <a:gd name="T53" fmla="*/ 31 h 387"/>
                <a:gd name="T54" fmla="*/ 729 w 734"/>
                <a:gd name="T55" fmla="*/ 34 h 387"/>
                <a:gd name="T56" fmla="*/ 726 w 734"/>
                <a:gd name="T57" fmla="*/ 36 h 387"/>
                <a:gd name="T58" fmla="*/ 723 w 734"/>
                <a:gd name="T59" fmla="*/ 38 h 387"/>
                <a:gd name="T60" fmla="*/ 719 w 734"/>
                <a:gd name="T61" fmla="*/ 39 h 387"/>
                <a:gd name="T62" fmla="*/ 714 w 734"/>
                <a:gd name="T63" fmla="*/ 39 h 387"/>
                <a:gd name="T64" fmla="*/ 46 w 734"/>
                <a:gd name="T65" fmla="*/ 39 h 387"/>
                <a:gd name="T66" fmla="*/ 150 w 734"/>
                <a:gd name="T67" fmla="*/ 348 h 387"/>
                <a:gd name="T68" fmla="*/ 638 w 734"/>
                <a:gd name="T69" fmla="*/ 348 h 387"/>
                <a:gd name="T70" fmla="*/ 641 w 734"/>
                <a:gd name="T71" fmla="*/ 349 h 387"/>
                <a:gd name="T72" fmla="*/ 645 w 734"/>
                <a:gd name="T73" fmla="*/ 350 h 387"/>
                <a:gd name="T74" fmla="*/ 648 w 734"/>
                <a:gd name="T75" fmla="*/ 352 h 387"/>
                <a:gd name="T76" fmla="*/ 651 w 734"/>
                <a:gd name="T77" fmla="*/ 353 h 387"/>
                <a:gd name="T78" fmla="*/ 654 w 734"/>
                <a:gd name="T79" fmla="*/ 356 h 387"/>
                <a:gd name="T80" fmla="*/ 655 w 734"/>
                <a:gd name="T81" fmla="*/ 361 h 387"/>
                <a:gd name="T82" fmla="*/ 657 w 734"/>
                <a:gd name="T83" fmla="*/ 363 h 387"/>
                <a:gd name="T84" fmla="*/ 657 w 734"/>
                <a:gd name="T85" fmla="*/ 368 h 387"/>
                <a:gd name="T86" fmla="*/ 657 w 734"/>
                <a:gd name="T87" fmla="*/ 372 h 387"/>
                <a:gd name="T88" fmla="*/ 655 w 734"/>
                <a:gd name="T89" fmla="*/ 375 h 387"/>
                <a:gd name="T90" fmla="*/ 654 w 734"/>
                <a:gd name="T91" fmla="*/ 378 h 387"/>
                <a:gd name="T92" fmla="*/ 651 w 734"/>
                <a:gd name="T93" fmla="*/ 381 h 387"/>
                <a:gd name="T94" fmla="*/ 648 w 734"/>
                <a:gd name="T95" fmla="*/ 384 h 387"/>
                <a:gd name="T96" fmla="*/ 645 w 734"/>
                <a:gd name="T97" fmla="*/ 385 h 387"/>
                <a:gd name="T98" fmla="*/ 641 w 734"/>
                <a:gd name="T99" fmla="*/ 387 h 387"/>
                <a:gd name="T100" fmla="*/ 638 w 734"/>
                <a:gd name="T10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4" h="387">
                  <a:moveTo>
                    <a:pt x="638" y="387"/>
                  </a:moveTo>
                  <a:lnTo>
                    <a:pt x="135" y="387"/>
                  </a:lnTo>
                  <a:lnTo>
                    <a:pt x="130" y="387"/>
                  </a:lnTo>
                  <a:lnTo>
                    <a:pt x="124" y="384"/>
                  </a:lnTo>
                  <a:lnTo>
                    <a:pt x="120" y="379"/>
                  </a:lnTo>
                  <a:lnTo>
                    <a:pt x="117" y="374"/>
                  </a:lnTo>
                  <a:lnTo>
                    <a:pt x="2" y="26"/>
                  </a:lnTo>
                  <a:lnTo>
                    <a:pt x="0" y="22"/>
                  </a:lnTo>
                  <a:lnTo>
                    <a:pt x="0" y="16"/>
                  </a:lnTo>
                  <a:lnTo>
                    <a:pt x="2" y="12"/>
                  </a:lnTo>
                  <a:lnTo>
                    <a:pt x="4" y="9"/>
                  </a:lnTo>
                  <a:lnTo>
                    <a:pt x="7" y="5"/>
                  </a:lnTo>
                  <a:lnTo>
                    <a:pt x="12" y="3"/>
                  </a:lnTo>
                  <a:lnTo>
                    <a:pt x="14" y="0"/>
                  </a:lnTo>
                  <a:lnTo>
                    <a:pt x="20" y="0"/>
                  </a:lnTo>
                  <a:lnTo>
                    <a:pt x="714" y="0"/>
                  </a:lnTo>
                  <a:lnTo>
                    <a:pt x="719" y="0"/>
                  </a:lnTo>
                  <a:lnTo>
                    <a:pt x="723" y="2"/>
                  </a:lnTo>
                  <a:lnTo>
                    <a:pt x="726" y="3"/>
                  </a:lnTo>
                  <a:lnTo>
                    <a:pt x="729" y="6"/>
                  </a:lnTo>
                  <a:lnTo>
                    <a:pt x="732" y="9"/>
                  </a:lnTo>
                  <a:lnTo>
                    <a:pt x="733" y="12"/>
                  </a:lnTo>
                  <a:lnTo>
                    <a:pt x="734" y="16"/>
                  </a:lnTo>
                  <a:lnTo>
                    <a:pt x="734" y="21"/>
                  </a:lnTo>
                  <a:lnTo>
                    <a:pt x="734" y="24"/>
                  </a:lnTo>
                  <a:lnTo>
                    <a:pt x="733" y="28"/>
                  </a:lnTo>
                  <a:lnTo>
                    <a:pt x="732" y="31"/>
                  </a:lnTo>
                  <a:lnTo>
                    <a:pt x="729" y="34"/>
                  </a:lnTo>
                  <a:lnTo>
                    <a:pt x="726" y="36"/>
                  </a:lnTo>
                  <a:lnTo>
                    <a:pt x="723" y="38"/>
                  </a:lnTo>
                  <a:lnTo>
                    <a:pt x="719" y="39"/>
                  </a:lnTo>
                  <a:lnTo>
                    <a:pt x="714" y="39"/>
                  </a:lnTo>
                  <a:lnTo>
                    <a:pt x="46" y="39"/>
                  </a:lnTo>
                  <a:lnTo>
                    <a:pt x="150" y="348"/>
                  </a:lnTo>
                  <a:lnTo>
                    <a:pt x="638" y="348"/>
                  </a:lnTo>
                  <a:lnTo>
                    <a:pt x="641" y="349"/>
                  </a:lnTo>
                  <a:lnTo>
                    <a:pt x="645" y="350"/>
                  </a:lnTo>
                  <a:lnTo>
                    <a:pt x="648" y="352"/>
                  </a:lnTo>
                  <a:lnTo>
                    <a:pt x="651" y="353"/>
                  </a:lnTo>
                  <a:lnTo>
                    <a:pt x="654" y="356"/>
                  </a:lnTo>
                  <a:lnTo>
                    <a:pt x="655" y="361"/>
                  </a:lnTo>
                  <a:lnTo>
                    <a:pt x="657" y="363"/>
                  </a:lnTo>
                  <a:lnTo>
                    <a:pt x="657" y="368"/>
                  </a:lnTo>
                  <a:lnTo>
                    <a:pt x="657" y="372"/>
                  </a:lnTo>
                  <a:lnTo>
                    <a:pt x="655" y="375"/>
                  </a:lnTo>
                  <a:lnTo>
                    <a:pt x="654" y="378"/>
                  </a:lnTo>
                  <a:lnTo>
                    <a:pt x="651" y="381"/>
                  </a:lnTo>
                  <a:lnTo>
                    <a:pt x="648" y="384"/>
                  </a:lnTo>
                  <a:lnTo>
                    <a:pt x="645" y="385"/>
                  </a:lnTo>
                  <a:lnTo>
                    <a:pt x="641" y="387"/>
                  </a:lnTo>
                  <a:lnTo>
                    <a:pt x="638"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Title 11"/>
          <p:cNvSpPr txBox="1">
            <a:spLocks/>
          </p:cNvSpPr>
          <p:nvPr/>
        </p:nvSpPr>
        <p:spPr>
          <a:xfrm>
            <a:off x="423300" y="1011823"/>
            <a:ext cx="3436056" cy="37574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400" dirty="0">
                <a:solidFill>
                  <a:schemeClr val="tx1">
                    <a:lumMod val="90000"/>
                    <a:lumOff val="10000"/>
                  </a:schemeClr>
                </a:solidFill>
                <a:latin typeface="Open Sans Light" panose="020B0306030504020204" pitchFamily="34" charset="0"/>
                <a:ea typeface="Open Sans Light" panose="020B0306030504020204" pitchFamily="34" charset="0"/>
                <a:cs typeface="Open Sans Light" panose="020B0306030504020204" pitchFamily="34" charset="0"/>
              </a:rPr>
              <a:t>Insert Your Creative Idea </a:t>
            </a:r>
          </a:p>
        </p:txBody>
      </p:sp>
      <p:sp>
        <p:nvSpPr>
          <p:cNvPr id="31" name="Title 11"/>
          <p:cNvSpPr txBox="1">
            <a:spLocks/>
          </p:cNvSpPr>
          <p:nvPr/>
        </p:nvSpPr>
        <p:spPr>
          <a:xfrm>
            <a:off x="423303" y="443389"/>
            <a:ext cx="5363028" cy="646331"/>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b="1" spc="-300" dirty="0">
                <a:solidFill>
                  <a:schemeClr val="tx1">
                    <a:lumMod val="90000"/>
                    <a:lumOff val="10000"/>
                  </a:schemeClr>
                </a:solidFill>
                <a:latin typeface="Arial" panose="020B0604020202020204" pitchFamily="34" charset="0"/>
                <a:ea typeface="Roboto Light" panose="02000000000000000000" pitchFamily="2" charset="0"/>
                <a:cs typeface="Open Sans Light" panose="020B0306030504020204" pitchFamily="34" charset="0"/>
              </a:rPr>
              <a:t>Our Mission</a:t>
            </a:r>
          </a:p>
        </p:txBody>
      </p:sp>
    </p:spTree>
    <p:extLst>
      <p:ext uri="{BB962C8B-B14F-4D97-AF65-F5344CB8AC3E}">
        <p14:creationId xmlns:p14="http://schemas.microsoft.com/office/powerpoint/2010/main" val="401797615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A9EE9EAF-035B-4BDF-AE19-FF014663CEFC}"/>
              </a:ext>
            </a:extLst>
          </p:cNvPr>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l="9802" r="9802"/>
          <a:stretch>
            <a:fillRect/>
          </a:stretch>
        </p:blipFill>
        <p:spPr>
          <a:solidFill>
            <a:schemeClr val="tx1">
              <a:lumMod val="90000"/>
              <a:lumOff val="10000"/>
            </a:schemeClr>
          </a:solidFill>
        </p:spPr>
      </p:pic>
      <p:pic>
        <p:nvPicPr>
          <p:cNvPr id="4" name="Picture Placeholder 3">
            <a:extLst>
              <a:ext uri="{FF2B5EF4-FFF2-40B4-BE49-F238E27FC236}">
                <a16:creationId xmlns:a16="http://schemas.microsoft.com/office/drawing/2014/main" id="{3A4EA483-6745-407B-948A-6739649A72FE}"/>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30089" r="30089"/>
          <a:stretch>
            <a:fillRect/>
          </a:stretch>
        </p:blipFill>
        <p:spPr>
          <a:solidFill>
            <a:schemeClr val="tx1">
              <a:lumMod val="75000"/>
              <a:lumOff val="25000"/>
            </a:schemeClr>
          </a:solidFill>
        </p:spPr>
      </p:pic>
      <p:sp>
        <p:nvSpPr>
          <p:cNvPr id="2" name="Slide Number Placeholder 1"/>
          <p:cNvSpPr>
            <a:spLocks noGrp="1"/>
          </p:cNvSpPr>
          <p:nvPr>
            <p:ph type="sldNum" sz="quarter" idx="12"/>
          </p:nvPr>
        </p:nvSpPr>
        <p:spPr/>
        <p:txBody>
          <a:bodyPr/>
          <a:lstStyle/>
          <a:p>
            <a:fld id="{32ECD629-4DA5-4EAE-B174-69948CAAE2CE}" type="slidenum">
              <a:rPr lang="en-US" smtClean="0"/>
              <a:pPr/>
              <a:t>8</a:t>
            </a:fld>
            <a:endParaRPr lang="en-US" dirty="0"/>
          </a:p>
        </p:txBody>
      </p:sp>
      <p:grpSp>
        <p:nvGrpSpPr>
          <p:cNvPr id="119" name="Group 118"/>
          <p:cNvGrpSpPr/>
          <p:nvPr/>
        </p:nvGrpSpPr>
        <p:grpSpPr>
          <a:xfrm>
            <a:off x="367609" y="518733"/>
            <a:ext cx="3984763" cy="4681871"/>
            <a:chOff x="7730990" y="1168469"/>
            <a:chExt cx="3984763" cy="4681871"/>
          </a:xfrm>
        </p:grpSpPr>
        <p:sp>
          <p:nvSpPr>
            <p:cNvPr id="43" name="Rectangle 42"/>
            <p:cNvSpPr/>
            <p:nvPr/>
          </p:nvSpPr>
          <p:spPr>
            <a:xfrm>
              <a:off x="7730990" y="3172684"/>
              <a:ext cx="3984763" cy="2677656"/>
            </a:xfrm>
            <a:prstGeom prst="rect">
              <a:avLst/>
            </a:prstGeom>
          </p:spPr>
          <p:txBody>
            <a:bodyPr wrap="square">
              <a:spAutoFit/>
            </a:bodyPr>
            <a:lstStyle/>
            <a:p>
              <a:pPr>
                <a:buClr>
                  <a:srgbClr val="E24848"/>
                </a:buClr>
                <a:defRPr/>
              </a:pPr>
              <a:r>
                <a:rPr lang="en-US" sz="1400" noProof="1">
                  <a:solidFill>
                    <a:schemeClr val="tx1">
                      <a:lumMod val="90000"/>
                      <a:lumOff val="10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a:t>
              </a:r>
              <a:r>
                <a:rPr lang="en-US" sz="1400" noProof="1">
                  <a:solidFill>
                    <a:schemeClr val="tx1">
                      <a:lumMod val="90000"/>
                      <a:lumOff val="10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a:t>
              </a:r>
            </a:p>
            <a:p>
              <a:pPr>
                <a:buClr>
                  <a:srgbClr val="E24848"/>
                </a:buClr>
                <a:defRPr/>
              </a:pPr>
              <a:r>
                <a:rPr lang="en-US" sz="1400" noProof="1">
                  <a:solidFill>
                    <a:schemeClr val="tx1">
                      <a:lumMod val="90000"/>
                      <a:lumOff val="10000"/>
                    </a:schemeClr>
                  </a:solidFill>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a:t>
              </a:r>
            </a:p>
            <a:p>
              <a:pPr>
                <a:buClr>
                  <a:srgbClr val="E24848"/>
                </a:buClr>
                <a:defRPr/>
              </a:pPr>
              <a:endParaRPr lang="en-US" sz="1400" noProof="1">
                <a:solidFill>
                  <a:schemeClr val="tx1">
                    <a:lumMod val="90000"/>
                    <a:lumOff val="10000"/>
                  </a:schemeClr>
                </a:solidFill>
                <a:latin typeface="+mj-lt"/>
                <a:ea typeface="Open Sans Light" panose="020B0306030504020204" pitchFamily="34" charset="0"/>
                <a:cs typeface="Open Sans Light" panose="020B0306030504020204" pitchFamily="34" charset="0"/>
              </a:endParaRPr>
            </a:p>
          </p:txBody>
        </p:sp>
        <p:sp>
          <p:nvSpPr>
            <p:cNvPr id="44" name="Rectangle 43"/>
            <p:cNvSpPr/>
            <p:nvPr/>
          </p:nvSpPr>
          <p:spPr>
            <a:xfrm>
              <a:off x="7730990" y="1168469"/>
              <a:ext cx="3270839" cy="2105425"/>
            </a:xfrm>
            <a:prstGeom prst="rect">
              <a:avLst/>
            </a:prstGeom>
          </p:spPr>
          <p:txBody>
            <a:bodyPr vert="horz" wrap="square" lIns="91440" tIns="45720" rIns="91440" bIns="45720" rtlCol="0" anchor="ctr">
              <a:noAutofit/>
            </a:bodyPr>
            <a:lstStyle/>
            <a:p>
              <a:pPr>
                <a:lnSpc>
                  <a:spcPct val="90000"/>
                </a:lnSpc>
                <a:spcBef>
                  <a:spcPct val="0"/>
                </a:spcBef>
              </a:pPr>
              <a:r>
                <a:rPr lang="en-US" sz="4000" b="1" spc="-300" noProof="1">
                  <a:solidFill>
                    <a:schemeClr val="tx1">
                      <a:lumMod val="90000"/>
                      <a:lumOff val="10000"/>
                    </a:schemeClr>
                  </a:solidFill>
                  <a:latin typeface="Arial" panose="020B0604020202020204" pitchFamily="34" charset="0"/>
                  <a:ea typeface="Roboto Light" panose="02000000000000000000" pitchFamily="2" charset="0"/>
                  <a:cs typeface="Open Sans Light" panose="020B0306030504020204" pitchFamily="34" charset="0"/>
                </a:rPr>
                <a:t>Quality Assurance and Plan</a:t>
              </a:r>
            </a:p>
          </p:txBody>
        </p:sp>
      </p:grpSp>
      <p:sp>
        <p:nvSpPr>
          <p:cNvPr id="82" name="Oval 81"/>
          <p:cNvSpPr/>
          <p:nvPr/>
        </p:nvSpPr>
        <p:spPr>
          <a:xfrm>
            <a:off x="527273" y="5161154"/>
            <a:ext cx="640232" cy="640232"/>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3" name="Oval 82"/>
          <p:cNvSpPr/>
          <p:nvPr/>
        </p:nvSpPr>
        <p:spPr>
          <a:xfrm>
            <a:off x="1581971" y="5161154"/>
            <a:ext cx="640232" cy="640232"/>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4" name="Oval 83"/>
          <p:cNvSpPr/>
          <p:nvPr/>
        </p:nvSpPr>
        <p:spPr>
          <a:xfrm>
            <a:off x="2615592" y="5161154"/>
            <a:ext cx="640232" cy="640232"/>
          </a:xfrm>
          <a:prstGeom prst="ellipse">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5" name="Group 84"/>
          <p:cNvGrpSpPr/>
          <p:nvPr/>
        </p:nvGrpSpPr>
        <p:grpSpPr>
          <a:xfrm>
            <a:off x="726879" y="5309519"/>
            <a:ext cx="236157" cy="343501"/>
            <a:chOff x="3720306" y="3668315"/>
            <a:chExt cx="314325" cy="457200"/>
          </a:xfrm>
          <a:solidFill>
            <a:schemeClr val="tx1">
              <a:lumMod val="75000"/>
              <a:lumOff val="25000"/>
            </a:schemeClr>
          </a:solidFill>
        </p:grpSpPr>
        <p:sp>
          <p:nvSpPr>
            <p:cNvPr id="86" name="Freeform 114"/>
            <p:cNvSpPr>
              <a:spLocks noEditPoints="1"/>
            </p:cNvSpPr>
            <p:nvPr/>
          </p:nvSpPr>
          <p:spPr bwMode="auto">
            <a:xfrm>
              <a:off x="3720306" y="3668315"/>
              <a:ext cx="314325" cy="457200"/>
            </a:xfrm>
            <a:custGeom>
              <a:avLst/>
              <a:gdLst>
                <a:gd name="T0" fmla="*/ 184 w 793"/>
                <a:gd name="T1" fmla="*/ 669 h 1152"/>
                <a:gd name="T2" fmla="*/ 103 w 793"/>
                <a:gd name="T3" fmla="*/ 514 h 1152"/>
                <a:gd name="T4" fmla="*/ 78 w 793"/>
                <a:gd name="T5" fmla="*/ 439 h 1152"/>
                <a:gd name="T6" fmla="*/ 75 w 793"/>
                <a:gd name="T7" fmla="*/ 363 h 1152"/>
                <a:gd name="T8" fmla="*/ 92 w 793"/>
                <a:gd name="T9" fmla="*/ 284 h 1152"/>
                <a:gd name="T10" fmla="*/ 128 w 793"/>
                <a:gd name="T11" fmla="*/ 215 h 1152"/>
                <a:gd name="T12" fmla="*/ 180 w 793"/>
                <a:gd name="T13" fmla="*/ 156 h 1152"/>
                <a:gd name="T14" fmla="*/ 242 w 793"/>
                <a:gd name="T15" fmla="*/ 112 h 1152"/>
                <a:gd name="T16" fmla="*/ 316 w 793"/>
                <a:gd name="T17" fmla="*/ 82 h 1152"/>
                <a:gd name="T18" fmla="*/ 397 w 793"/>
                <a:gd name="T19" fmla="*/ 72 h 1152"/>
                <a:gd name="T20" fmla="*/ 478 w 793"/>
                <a:gd name="T21" fmla="*/ 82 h 1152"/>
                <a:gd name="T22" fmla="*/ 551 w 793"/>
                <a:gd name="T23" fmla="*/ 112 h 1152"/>
                <a:gd name="T24" fmla="*/ 615 w 793"/>
                <a:gd name="T25" fmla="*/ 156 h 1152"/>
                <a:gd name="T26" fmla="*/ 666 w 793"/>
                <a:gd name="T27" fmla="*/ 215 h 1152"/>
                <a:gd name="T28" fmla="*/ 701 w 793"/>
                <a:gd name="T29" fmla="*/ 284 h 1152"/>
                <a:gd name="T30" fmla="*/ 720 w 793"/>
                <a:gd name="T31" fmla="*/ 363 h 1152"/>
                <a:gd name="T32" fmla="*/ 717 w 793"/>
                <a:gd name="T33" fmla="*/ 438 h 1152"/>
                <a:gd name="T34" fmla="*/ 691 w 793"/>
                <a:gd name="T35" fmla="*/ 513 h 1152"/>
                <a:gd name="T36" fmla="*/ 610 w 793"/>
                <a:gd name="T37" fmla="*/ 669 h 1152"/>
                <a:gd name="T38" fmla="*/ 397 w 793"/>
                <a:gd name="T39" fmla="*/ 1080 h 1152"/>
                <a:gd name="T40" fmla="*/ 346 w 793"/>
                <a:gd name="T41" fmla="*/ 1067 h 1152"/>
                <a:gd name="T42" fmla="*/ 469 w 793"/>
                <a:gd name="T43" fmla="*/ 1036 h 1152"/>
                <a:gd name="T44" fmla="*/ 445 w 793"/>
                <a:gd name="T45" fmla="*/ 1071 h 1152"/>
                <a:gd name="T46" fmla="*/ 412 w 793"/>
                <a:gd name="T47" fmla="*/ 1079 h 1152"/>
                <a:gd name="T48" fmla="*/ 263 w 793"/>
                <a:gd name="T49" fmla="*/ 846 h 1152"/>
                <a:gd name="T50" fmla="*/ 528 w 793"/>
                <a:gd name="T51" fmla="*/ 857 h 1152"/>
                <a:gd name="T52" fmla="*/ 307 w 793"/>
                <a:gd name="T53" fmla="*/ 986 h 1152"/>
                <a:gd name="T54" fmla="*/ 290 w 793"/>
                <a:gd name="T55" fmla="*/ 931 h 1152"/>
                <a:gd name="T56" fmla="*/ 496 w 793"/>
                <a:gd name="T57" fmla="*/ 958 h 1152"/>
                <a:gd name="T58" fmla="*/ 376 w 793"/>
                <a:gd name="T59" fmla="*/ 0 h 1152"/>
                <a:gd name="T60" fmla="*/ 279 w 793"/>
                <a:gd name="T61" fmla="*/ 18 h 1152"/>
                <a:gd name="T62" fmla="*/ 192 w 793"/>
                <a:gd name="T63" fmla="*/ 58 h 1152"/>
                <a:gd name="T64" fmla="*/ 117 w 793"/>
                <a:gd name="T65" fmla="*/ 116 h 1152"/>
                <a:gd name="T66" fmla="*/ 59 w 793"/>
                <a:gd name="T67" fmla="*/ 190 h 1152"/>
                <a:gd name="T68" fmla="*/ 19 w 793"/>
                <a:gd name="T69" fmla="*/ 278 h 1152"/>
                <a:gd name="T70" fmla="*/ 2 w 793"/>
                <a:gd name="T71" fmla="*/ 375 h 1152"/>
                <a:gd name="T72" fmla="*/ 7 w 793"/>
                <a:gd name="T73" fmla="*/ 451 h 1152"/>
                <a:gd name="T74" fmla="*/ 59 w 793"/>
                <a:gd name="T75" fmla="*/ 589 h 1152"/>
                <a:gd name="T76" fmla="*/ 160 w 793"/>
                <a:gd name="T77" fmla="*/ 778 h 1152"/>
                <a:gd name="T78" fmla="*/ 234 w 793"/>
                <a:gd name="T79" fmla="*/ 994 h 1152"/>
                <a:gd name="T80" fmla="*/ 270 w 793"/>
                <a:gd name="T81" fmla="*/ 1086 h 1152"/>
                <a:gd name="T82" fmla="*/ 302 w 793"/>
                <a:gd name="T83" fmla="*/ 1125 h 1152"/>
                <a:gd name="T84" fmla="*/ 347 w 793"/>
                <a:gd name="T85" fmla="*/ 1146 h 1152"/>
                <a:gd name="T86" fmla="*/ 411 w 793"/>
                <a:gd name="T87" fmla="*/ 1152 h 1152"/>
                <a:gd name="T88" fmla="*/ 467 w 793"/>
                <a:gd name="T89" fmla="*/ 1140 h 1152"/>
                <a:gd name="T90" fmla="*/ 507 w 793"/>
                <a:gd name="T91" fmla="*/ 1111 h 1152"/>
                <a:gd name="T92" fmla="*/ 535 w 793"/>
                <a:gd name="T93" fmla="*/ 1066 h 1152"/>
                <a:gd name="T94" fmla="*/ 578 w 793"/>
                <a:gd name="T95" fmla="*/ 935 h 1152"/>
                <a:gd name="T96" fmla="*/ 633 w 793"/>
                <a:gd name="T97" fmla="*/ 779 h 1152"/>
                <a:gd name="T98" fmla="*/ 735 w 793"/>
                <a:gd name="T99" fmla="*/ 589 h 1152"/>
                <a:gd name="T100" fmla="*/ 787 w 793"/>
                <a:gd name="T101" fmla="*/ 451 h 1152"/>
                <a:gd name="T102" fmla="*/ 792 w 793"/>
                <a:gd name="T103" fmla="*/ 375 h 1152"/>
                <a:gd name="T104" fmla="*/ 775 w 793"/>
                <a:gd name="T105" fmla="*/ 278 h 1152"/>
                <a:gd name="T106" fmla="*/ 736 w 793"/>
                <a:gd name="T107" fmla="*/ 190 h 1152"/>
                <a:gd name="T108" fmla="*/ 677 w 793"/>
                <a:gd name="T109" fmla="*/ 116 h 1152"/>
                <a:gd name="T110" fmla="*/ 602 w 793"/>
                <a:gd name="T111" fmla="*/ 58 h 1152"/>
                <a:gd name="T112" fmla="*/ 515 w 793"/>
                <a:gd name="T113" fmla="*/ 18 h 1152"/>
                <a:gd name="T114" fmla="*/ 417 w 793"/>
                <a:gd name="T115"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3" h="1152">
                  <a:moveTo>
                    <a:pt x="565" y="756"/>
                  </a:moveTo>
                  <a:lnTo>
                    <a:pt x="229" y="756"/>
                  </a:lnTo>
                  <a:lnTo>
                    <a:pt x="215" y="727"/>
                  </a:lnTo>
                  <a:lnTo>
                    <a:pt x="200" y="698"/>
                  </a:lnTo>
                  <a:lnTo>
                    <a:pt x="184" y="669"/>
                  </a:lnTo>
                  <a:lnTo>
                    <a:pt x="169" y="640"/>
                  </a:lnTo>
                  <a:lnTo>
                    <a:pt x="151" y="608"/>
                  </a:lnTo>
                  <a:lnTo>
                    <a:pt x="133" y="577"/>
                  </a:lnTo>
                  <a:lnTo>
                    <a:pt x="117" y="545"/>
                  </a:lnTo>
                  <a:lnTo>
                    <a:pt x="103" y="514"/>
                  </a:lnTo>
                  <a:lnTo>
                    <a:pt x="97" y="498"/>
                  </a:lnTo>
                  <a:lnTo>
                    <a:pt x="91" y="483"/>
                  </a:lnTo>
                  <a:lnTo>
                    <a:pt x="86" y="468"/>
                  </a:lnTo>
                  <a:lnTo>
                    <a:pt x="81" y="453"/>
                  </a:lnTo>
                  <a:lnTo>
                    <a:pt x="78" y="439"/>
                  </a:lnTo>
                  <a:lnTo>
                    <a:pt x="75" y="424"/>
                  </a:lnTo>
                  <a:lnTo>
                    <a:pt x="74" y="410"/>
                  </a:lnTo>
                  <a:lnTo>
                    <a:pt x="73" y="396"/>
                  </a:lnTo>
                  <a:lnTo>
                    <a:pt x="74" y="379"/>
                  </a:lnTo>
                  <a:lnTo>
                    <a:pt x="75" y="363"/>
                  </a:lnTo>
                  <a:lnTo>
                    <a:pt x="77" y="347"/>
                  </a:lnTo>
                  <a:lnTo>
                    <a:pt x="79" y="331"/>
                  </a:lnTo>
                  <a:lnTo>
                    <a:pt x="84" y="315"/>
                  </a:lnTo>
                  <a:lnTo>
                    <a:pt x="88" y="300"/>
                  </a:lnTo>
                  <a:lnTo>
                    <a:pt x="92" y="284"/>
                  </a:lnTo>
                  <a:lnTo>
                    <a:pt x="99" y="270"/>
                  </a:lnTo>
                  <a:lnTo>
                    <a:pt x="105" y="255"/>
                  </a:lnTo>
                  <a:lnTo>
                    <a:pt x="112" y="241"/>
                  </a:lnTo>
                  <a:lnTo>
                    <a:pt x="120" y="228"/>
                  </a:lnTo>
                  <a:lnTo>
                    <a:pt x="128" y="215"/>
                  </a:lnTo>
                  <a:lnTo>
                    <a:pt x="138" y="202"/>
                  </a:lnTo>
                  <a:lnTo>
                    <a:pt x="147" y="190"/>
                  </a:lnTo>
                  <a:lnTo>
                    <a:pt x="157" y="179"/>
                  </a:lnTo>
                  <a:lnTo>
                    <a:pt x="168" y="167"/>
                  </a:lnTo>
                  <a:lnTo>
                    <a:pt x="180" y="156"/>
                  </a:lnTo>
                  <a:lnTo>
                    <a:pt x="191" y="146"/>
                  </a:lnTo>
                  <a:lnTo>
                    <a:pt x="204" y="136"/>
                  </a:lnTo>
                  <a:lnTo>
                    <a:pt x="216" y="128"/>
                  </a:lnTo>
                  <a:lnTo>
                    <a:pt x="229" y="119"/>
                  </a:lnTo>
                  <a:lnTo>
                    <a:pt x="242" y="112"/>
                  </a:lnTo>
                  <a:lnTo>
                    <a:pt x="256" y="104"/>
                  </a:lnTo>
                  <a:lnTo>
                    <a:pt x="270" y="98"/>
                  </a:lnTo>
                  <a:lnTo>
                    <a:pt x="286" y="91"/>
                  </a:lnTo>
                  <a:lnTo>
                    <a:pt x="301" y="87"/>
                  </a:lnTo>
                  <a:lnTo>
                    <a:pt x="316" y="82"/>
                  </a:lnTo>
                  <a:lnTo>
                    <a:pt x="332" y="78"/>
                  </a:lnTo>
                  <a:lnTo>
                    <a:pt x="348" y="76"/>
                  </a:lnTo>
                  <a:lnTo>
                    <a:pt x="364" y="74"/>
                  </a:lnTo>
                  <a:lnTo>
                    <a:pt x="381" y="73"/>
                  </a:lnTo>
                  <a:lnTo>
                    <a:pt x="397" y="72"/>
                  </a:lnTo>
                  <a:lnTo>
                    <a:pt x="414" y="73"/>
                  </a:lnTo>
                  <a:lnTo>
                    <a:pt x="430" y="74"/>
                  </a:lnTo>
                  <a:lnTo>
                    <a:pt x="447" y="76"/>
                  </a:lnTo>
                  <a:lnTo>
                    <a:pt x="463" y="78"/>
                  </a:lnTo>
                  <a:lnTo>
                    <a:pt x="478" y="82"/>
                  </a:lnTo>
                  <a:lnTo>
                    <a:pt x="493" y="87"/>
                  </a:lnTo>
                  <a:lnTo>
                    <a:pt x="508" y="91"/>
                  </a:lnTo>
                  <a:lnTo>
                    <a:pt x="523" y="98"/>
                  </a:lnTo>
                  <a:lnTo>
                    <a:pt x="537" y="104"/>
                  </a:lnTo>
                  <a:lnTo>
                    <a:pt x="551" y="112"/>
                  </a:lnTo>
                  <a:lnTo>
                    <a:pt x="565" y="119"/>
                  </a:lnTo>
                  <a:lnTo>
                    <a:pt x="578" y="128"/>
                  </a:lnTo>
                  <a:lnTo>
                    <a:pt x="591" y="136"/>
                  </a:lnTo>
                  <a:lnTo>
                    <a:pt x="603" y="146"/>
                  </a:lnTo>
                  <a:lnTo>
                    <a:pt x="615" y="156"/>
                  </a:lnTo>
                  <a:lnTo>
                    <a:pt x="626" y="167"/>
                  </a:lnTo>
                  <a:lnTo>
                    <a:pt x="637" y="179"/>
                  </a:lnTo>
                  <a:lnTo>
                    <a:pt x="647" y="190"/>
                  </a:lnTo>
                  <a:lnTo>
                    <a:pt x="656" y="202"/>
                  </a:lnTo>
                  <a:lnTo>
                    <a:pt x="666" y="215"/>
                  </a:lnTo>
                  <a:lnTo>
                    <a:pt x="674" y="228"/>
                  </a:lnTo>
                  <a:lnTo>
                    <a:pt x="682" y="241"/>
                  </a:lnTo>
                  <a:lnTo>
                    <a:pt x="688" y="255"/>
                  </a:lnTo>
                  <a:lnTo>
                    <a:pt x="696" y="270"/>
                  </a:lnTo>
                  <a:lnTo>
                    <a:pt x="701" y="284"/>
                  </a:lnTo>
                  <a:lnTo>
                    <a:pt x="707" y="300"/>
                  </a:lnTo>
                  <a:lnTo>
                    <a:pt x="711" y="315"/>
                  </a:lnTo>
                  <a:lnTo>
                    <a:pt x="714" y="331"/>
                  </a:lnTo>
                  <a:lnTo>
                    <a:pt x="718" y="347"/>
                  </a:lnTo>
                  <a:lnTo>
                    <a:pt x="720" y="363"/>
                  </a:lnTo>
                  <a:lnTo>
                    <a:pt x="721" y="379"/>
                  </a:lnTo>
                  <a:lnTo>
                    <a:pt x="721" y="396"/>
                  </a:lnTo>
                  <a:lnTo>
                    <a:pt x="721" y="410"/>
                  </a:lnTo>
                  <a:lnTo>
                    <a:pt x="719" y="424"/>
                  </a:lnTo>
                  <a:lnTo>
                    <a:pt x="717" y="438"/>
                  </a:lnTo>
                  <a:lnTo>
                    <a:pt x="712" y="453"/>
                  </a:lnTo>
                  <a:lnTo>
                    <a:pt x="708" y="468"/>
                  </a:lnTo>
                  <a:lnTo>
                    <a:pt x="704" y="483"/>
                  </a:lnTo>
                  <a:lnTo>
                    <a:pt x="697" y="498"/>
                  </a:lnTo>
                  <a:lnTo>
                    <a:pt x="691" y="513"/>
                  </a:lnTo>
                  <a:lnTo>
                    <a:pt x="677" y="545"/>
                  </a:lnTo>
                  <a:lnTo>
                    <a:pt x="660" y="577"/>
                  </a:lnTo>
                  <a:lnTo>
                    <a:pt x="643" y="608"/>
                  </a:lnTo>
                  <a:lnTo>
                    <a:pt x="626" y="641"/>
                  </a:lnTo>
                  <a:lnTo>
                    <a:pt x="610" y="669"/>
                  </a:lnTo>
                  <a:lnTo>
                    <a:pt x="594" y="698"/>
                  </a:lnTo>
                  <a:lnTo>
                    <a:pt x="579" y="727"/>
                  </a:lnTo>
                  <a:lnTo>
                    <a:pt x="565" y="756"/>
                  </a:lnTo>
                  <a:lnTo>
                    <a:pt x="565" y="756"/>
                  </a:lnTo>
                  <a:close/>
                  <a:moveTo>
                    <a:pt x="397" y="1080"/>
                  </a:moveTo>
                  <a:lnTo>
                    <a:pt x="384" y="1079"/>
                  </a:lnTo>
                  <a:lnTo>
                    <a:pt x="373" y="1078"/>
                  </a:lnTo>
                  <a:lnTo>
                    <a:pt x="363" y="1076"/>
                  </a:lnTo>
                  <a:lnTo>
                    <a:pt x="355" y="1073"/>
                  </a:lnTo>
                  <a:lnTo>
                    <a:pt x="346" y="1067"/>
                  </a:lnTo>
                  <a:lnTo>
                    <a:pt x="339" y="1059"/>
                  </a:lnTo>
                  <a:lnTo>
                    <a:pt x="332" y="1049"/>
                  </a:lnTo>
                  <a:lnTo>
                    <a:pt x="326" y="1035"/>
                  </a:lnTo>
                  <a:lnTo>
                    <a:pt x="478" y="1016"/>
                  </a:lnTo>
                  <a:lnTo>
                    <a:pt x="469" y="1036"/>
                  </a:lnTo>
                  <a:lnTo>
                    <a:pt x="462" y="1051"/>
                  </a:lnTo>
                  <a:lnTo>
                    <a:pt x="457" y="1057"/>
                  </a:lnTo>
                  <a:lnTo>
                    <a:pt x="454" y="1062"/>
                  </a:lnTo>
                  <a:lnTo>
                    <a:pt x="450" y="1066"/>
                  </a:lnTo>
                  <a:lnTo>
                    <a:pt x="445" y="1071"/>
                  </a:lnTo>
                  <a:lnTo>
                    <a:pt x="440" y="1073"/>
                  </a:lnTo>
                  <a:lnTo>
                    <a:pt x="436" y="1075"/>
                  </a:lnTo>
                  <a:lnTo>
                    <a:pt x="430" y="1077"/>
                  </a:lnTo>
                  <a:lnTo>
                    <a:pt x="425" y="1078"/>
                  </a:lnTo>
                  <a:lnTo>
                    <a:pt x="412" y="1079"/>
                  </a:lnTo>
                  <a:lnTo>
                    <a:pt x="397" y="1080"/>
                  </a:lnTo>
                  <a:close/>
                  <a:moveTo>
                    <a:pt x="279" y="897"/>
                  </a:moveTo>
                  <a:lnTo>
                    <a:pt x="275" y="881"/>
                  </a:lnTo>
                  <a:lnTo>
                    <a:pt x="269" y="863"/>
                  </a:lnTo>
                  <a:lnTo>
                    <a:pt x="263" y="846"/>
                  </a:lnTo>
                  <a:lnTo>
                    <a:pt x="258" y="828"/>
                  </a:lnTo>
                  <a:lnTo>
                    <a:pt x="537" y="828"/>
                  </a:lnTo>
                  <a:lnTo>
                    <a:pt x="534" y="837"/>
                  </a:lnTo>
                  <a:lnTo>
                    <a:pt x="531" y="847"/>
                  </a:lnTo>
                  <a:lnTo>
                    <a:pt x="528" y="857"/>
                  </a:lnTo>
                  <a:lnTo>
                    <a:pt x="524" y="867"/>
                  </a:lnTo>
                  <a:lnTo>
                    <a:pt x="279" y="897"/>
                  </a:lnTo>
                  <a:close/>
                  <a:moveTo>
                    <a:pt x="491" y="978"/>
                  </a:moveTo>
                  <a:lnTo>
                    <a:pt x="312" y="1000"/>
                  </a:lnTo>
                  <a:lnTo>
                    <a:pt x="307" y="986"/>
                  </a:lnTo>
                  <a:lnTo>
                    <a:pt x="302" y="970"/>
                  </a:lnTo>
                  <a:lnTo>
                    <a:pt x="296" y="952"/>
                  </a:lnTo>
                  <a:lnTo>
                    <a:pt x="290" y="932"/>
                  </a:lnTo>
                  <a:lnTo>
                    <a:pt x="290" y="931"/>
                  </a:lnTo>
                  <a:lnTo>
                    <a:pt x="290" y="931"/>
                  </a:lnTo>
                  <a:lnTo>
                    <a:pt x="512" y="903"/>
                  </a:lnTo>
                  <a:lnTo>
                    <a:pt x="508" y="919"/>
                  </a:lnTo>
                  <a:lnTo>
                    <a:pt x="504" y="936"/>
                  </a:lnTo>
                  <a:lnTo>
                    <a:pt x="499" y="946"/>
                  </a:lnTo>
                  <a:lnTo>
                    <a:pt x="496" y="958"/>
                  </a:lnTo>
                  <a:lnTo>
                    <a:pt x="493" y="968"/>
                  </a:lnTo>
                  <a:lnTo>
                    <a:pt x="491" y="978"/>
                  </a:lnTo>
                  <a:lnTo>
                    <a:pt x="491" y="978"/>
                  </a:lnTo>
                  <a:close/>
                  <a:moveTo>
                    <a:pt x="397" y="0"/>
                  </a:moveTo>
                  <a:lnTo>
                    <a:pt x="376" y="0"/>
                  </a:lnTo>
                  <a:lnTo>
                    <a:pt x="357" y="1"/>
                  </a:lnTo>
                  <a:lnTo>
                    <a:pt x="336" y="5"/>
                  </a:lnTo>
                  <a:lnTo>
                    <a:pt x="317" y="8"/>
                  </a:lnTo>
                  <a:lnTo>
                    <a:pt x="299" y="12"/>
                  </a:lnTo>
                  <a:lnTo>
                    <a:pt x="279" y="18"/>
                  </a:lnTo>
                  <a:lnTo>
                    <a:pt x="261" y="24"/>
                  </a:lnTo>
                  <a:lnTo>
                    <a:pt x="242" y="31"/>
                  </a:lnTo>
                  <a:lnTo>
                    <a:pt x="225" y="39"/>
                  </a:lnTo>
                  <a:lnTo>
                    <a:pt x="208" y="48"/>
                  </a:lnTo>
                  <a:lnTo>
                    <a:pt x="192" y="58"/>
                  </a:lnTo>
                  <a:lnTo>
                    <a:pt x="175" y="67"/>
                  </a:lnTo>
                  <a:lnTo>
                    <a:pt x="160" y="78"/>
                  </a:lnTo>
                  <a:lnTo>
                    <a:pt x="145" y="90"/>
                  </a:lnTo>
                  <a:lnTo>
                    <a:pt x="131" y="103"/>
                  </a:lnTo>
                  <a:lnTo>
                    <a:pt x="117" y="116"/>
                  </a:lnTo>
                  <a:lnTo>
                    <a:pt x="104" y="130"/>
                  </a:lnTo>
                  <a:lnTo>
                    <a:pt x="91" y="144"/>
                  </a:lnTo>
                  <a:lnTo>
                    <a:pt x="79" y="159"/>
                  </a:lnTo>
                  <a:lnTo>
                    <a:pt x="69" y="174"/>
                  </a:lnTo>
                  <a:lnTo>
                    <a:pt x="59" y="190"/>
                  </a:lnTo>
                  <a:lnTo>
                    <a:pt x="49" y="207"/>
                  </a:lnTo>
                  <a:lnTo>
                    <a:pt x="40" y="224"/>
                  </a:lnTo>
                  <a:lnTo>
                    <a:pt x="32" y="242"/>
                  </a:lnTo>
                  <a:lnTo>
                    <a:pt x="25" y="260"/>
                  </a:lnTo>
                  <a:lnTo>
                    <a:pt x="19" y="278"/>
                  </a:lnTo>
                  <a:lnTo>
                    <a:pt x="13" y="297"/>
                  </a:lnTo>
                  <a:lnTo>
                    <a:pt x="9" y="316"/>
                  </a:lnTo>
                  <a:lnTo>
                    <a:pt x="6" y="335"/>
                  </a:lnTo>
                  <a:lnTo>
                    <a:pt x="3" y="356"/>
                  </a:lnTo>
                  <a:lnTo>
                    <a:pt x="2" y="375"/>
                  </a:lnTo>
                  <a:lnTo>
                    <a:pt x="0" y="396"/>
                  </a:lnTo>
                  <a:lnTo>
                    <a:pt x="2" y="410"/>
                  </a:lnTo>
                  <a:lnTo>
                    <a:pt x="3" y="424"/>
                  </a:lnTo>
                  <a:lnTo>
                    <a:pt x="5" y="437"/>
                  </a:lnTo>
                  <a:lnTo>
                    <a:pt x="7" y="451"/>
                  </a:lnTo>
                  <a:lnTo>
                    <a:pt x="13" y="479"/>
                  </a:lnTo>
                  <a:lnTo>
                    <a:pt x="22" y="506"/>
                  </a:lnTo>
                  <a:lnTo>
                    <a:pt x="33" y="534"/>
                  </a:lnTo>
                  <a:lnTo>
                    <a:pt x="46" y="561"/>
                  </a:lnTo>
                  <a:lnTo>
                    <a:pt x="59" y="589"/>
                  </a:lnTo>
                  <a:lnTo>
                    <a:pt x="74" y="617"/>
                  </a:lnTo>
                  <a:lnTo>
                    <a:pt x="103" y="671"/>
                  </a:lnTo>
                  <a:lnTo>
                    <a:pt x="133" y="725"/>
                  </a:lnTo>
                  <a:lnTo>
                    <a:pt x="147" y="752"/>
                  </a:lnTo>
                  <a:lnTo>
                    <a:pt x="160" y="778"/>
                  </a:lnTo>
                  <a:lnTo>
                    <a:pt x="172" y="804"/>
                  </a:lnTo>
                  <a:lnTo>
                    <a:pt x="182" y="830"/>
                  </a:lnTo>
                  <a:lnTo>
                    <a:pt x="206" y="901"/>
                  </a:lnTo>
                  <a:lnTo>
                    <a:pt x="225" y="965"/>
                  </a:lnTo>
                  <a:lnTo>
                    <a:pt x="234" y="994"/>
                  </a:lnTo>
                  <a:lnTo>
                    <a:pt x="242" y="1020"/>
                  </a:lnTo>
                  <a:lnTo>
                    <a:pt x="251" y="1045"/>
                  </a:lnTo>
                  <a:lnTo>
                    <a:pt x="260" y="1066"/>
                  </a:lnTo>
                  <a:lnTo>
                    <a:pt x="265" y="1076"/>
                  </a:lnTo>
                  <a:lnTo>
                    <a:pt x="270" y="1086"/>
                  </a:lnTo>
                  <a:lnTo>
                    <a:pt x="276" y="1094"/>
                  </a:lnTo>
                  <a:lnTo>
                    <a:pt x="281" y="1103"/>
                  </a:lnTo>
                  <a:lnTo>
                    <a:pt x="288" y="1111"/>
                  </a:lnTo>
                  <a:lnTo>
                    <a:pt x="295" y="1118"/>
                  </a:lnTo>
                  <a:lnTo>
                    <a:pt x="302" y="1125"/>
                  </a:lnTo>
                  <a:lnTo>
                    <a:pt x="310" y="1130"/>
                  </a:lnTo>
                  <a:lnTo>
                    <a:pt x="318" y="1135"/>
                  </a:lnTo>
                  <a:lnTo>
                    <a:pt x="328" y="1140"/>
                  </a:lnTo>
                  <a:lnTo>
                    <a:pt x="337" y="1143"/>
                  </a:lnTo>
                  <a:lnTo>
                    <a:pt x="347" y="1146"/>
                  </a:lnTo>
                  <a:lnTo>
                    <a:pt x="359" y="1148"/>
                  </a:lnTo>
                  <a:lnTo>
                    <a:pt x="371" y="1151"/>
                  </a:lnTo>
                  <a:lnTo>
                    <a:pt x="383" y="1152"/>
                  </a:lnTo>
                  <a:lnTo>
                    <a:pt x="397" y="1152"/>
                  </a:lnTo>
                  <a:lnTo>
                    <a:pt x="411" y="1152"/>
                  </a:lnTo>
                  <a:lnTo>
                    <a:pt x="424" y="1151"/>
                  </a:lnTo>
                  <a:lnTo>
                    <a:pt x="436" y="1148"/>
                  </a:lnTo>
                  <a:lnTo>
                    <a:pt x="448" y="1146"/>
                  </a:lnTo>
                  <a:lnTo>
                    <a:pt x="457" y="1143"/>
                  </a:lnTo>
                  <a:lnTo>
                    <a:pt x="467" y="1140"/>
                  </a:lnTo>
                  <a:lnTo>
                    <a:pt x="477" y="1135"/>
                  </a:lnTo>
                  <a:lnTo>
                    <a:pt x="485" y="1130"/>
                  </a:lnTo>
                  <a:lnTo>
                    <a:pt x="493" y="1125"/>
                  </a:lnTo>
                  <a:lnTo>
                    <a:pt x="501" y="1118"/>
                  </a:lnTo>
                  <a:lnTo>
                    <a:pt x="507" y="1111"/>
                  </a:lnTo>
                  <a:lnTo>
                    <a:pt x="513" y="1103"/>
                  </a:lnTo>
                  <a:lnTo>
                    <a:pt x="519" y="1095"/>
                  </a:lnTo>
                  <a:lnTo>
                    <a:pt x="524" y="1086"/>
                  </a:lnTo>
                  <a:lnTo>
                    <a:pt x="530" y="1077"/>
                  </a:lnTo>
                  <a:lnTo>
                    <a:pt x="535" y="1066"/>
                  </a:lnTo>
                  <a:lnTo>
                    <a:pt x="544" y="1045"/>
                  </a:lnTo>
                  <a:lnTo>
                    <a:pt x="552" y="1021"/>
                  </a:lnTo>
                  <a:lnTo>
                    <a:pt x="561" y="994"/>
                  </a:lnTo>
                  <a:lnTo>
                    <a:pt x="570" y="966"/>
                  </a:lnTo>
                  <a:lnTo>
                    <a:pt x="578" y="935"/>
                  </a:lnTo>
                  <a:lnTo>
                    <a:pt x="588" y="902"/>
                  </a:lnTo>
                  <a:lnTo>
                    <a:pt x="599" y="868"/>
                  </a:lnTo>
                  <a:lnTo>
                    <a:pt x="612" y="831"/>
                  </a:lnTo>
                  <a:lnTo>
                    <a:pt x="621" y="805"/>
                  </a:lnTo>
                  <a:lnTo>
                    <a:pt x="633" y="779"/>
                  </a:lnTo>
                  <a:lnTo>
                    <a:pt x="646" y="753"/>
                  </a:lnTo>
                  <a:lnTo>
                    <a:pt x="660" y="726"/>
                  </a:lnTo>
                  <a:lnTo>
                    <a:pt x="691" y="672"/>
                  </a:lnTo>
                  <a:lnTo>
                    <a:pt x="721" y="617"/>
                  </a:lnTo>
                  <a:lnTo>
                    <a:pt x="735" y="589"/>
                  </a:lnTo>
                  <a:lnTo>
                    <a:pt x="749" y="561"/>
                  </a:lnTo>
                  <a:lnTo>
                    <a:pt x="761" y="533"/>
                  </a:lnTo>
                  <a:lnTo>
                    <a:pt x="772" y="506"/>
                  </a:lnTo>
                  <a:lnTo>
                    <a:pt x="780" y="478"/>
                  </a:lnTo>
                  <a:lnTo>
                    <a:pt x="787" y="451"/>
                  </a:lnTo>
                  <a:lnTo>
                    <a:pt x="790" y="437"/>
                  </a:lnTo>
                  <a:lnTo>
                    <a:pt x="791" y="423"/>
                  </a:lnTo>
                  <a:lnTo>
                    <a:pt x="792" y="410"/>
                  </a:lnTo>
                  <a:lnTo>
                    <a:pt x="793" y="396"/>
                  </a:lnTo>
                  <a:lnTo>
                    <a:pt x="792" y="375"/>
                  </a:lnTo>
                  <a:lnTo>
                    <a:pt x="791" y="356"/>
                  </a:lnTo>
                  <a:lnTo>
                    <a:pt x="789" y="335"/>
                  </a:lnTo>
                  <a:lnTo>
                    <a:pt x="785" y="316"/>
                  </a:lnTo>
                  <a:lnTo>
                    <a:pt x="780" y="297"/>
                  </a:lnTo>
                  <a:lnTo>
                    <a:pt x="775" y="278"/>
                  </a:lnTo>
                  <a:lnTo>
                    <a:pt x="769" y="260"/>
                  </a:lnTo>
                  <a:lnTo>
                    <a:pt x="762" y="242"/>
                  </a:lnTo>
                  <a:lnTo>
                    <a:pt x="754" y="224"/>
                  </a:lnTo>
                  <a:lnTo>
                    <a:pt x="746" y="207"/>
                  </a:lnTo>
                  <a:lnTo>
                    <a:pt x="736" y="190"/>
                  </a:lnTo>
                  <a:lnTo>
                    <a:pt x="725" y="174"/>
                  </a:lnTo>
                  <a:lnTo>
                    <a:pt x="714" y="159"/>
                  </a:lnTo>
                  <a:lnTo>
                    <a:pt x="703" y="144"/>
                  </a:lnTo>
                  <a:lnTo>
                    <a:pt x="691" y="130"/>
                  </a:lnTo>
                  <a:lnTo>
                    <a:pt x="677" y="116"/>
                  </a:lnTo>
                  <a:lnTo>
                    <a:pt x="664" y="103"/>
                  </a:lnTo>
                  <a:lnTo>
                    <a:pt x="648" y="90"/>
                  </a:lnTo>
                  <a:lnTo>
                    <a:pt x="633" y="78"/>
                  </a:lnTo>
                  <a:lnTo>
                    <a:pt x="618" y="67"/>
                  </a:lnTo>
                  <a:lnTo>
                    <a:pt x="602" y="58"/>
                  </a:lnTo>
                  <a:lnTo>
                    <a:pt x="586" y="48"/>
                  </a:lnTo>
                  <a:lnTo>
                    <a:pt x="569" y="39"/>
                  </a:lnTo>
                  <a:lnTo>
                    <a:pt x="551" y="31"/>
                  </a:lnTo>
                  <a:lnTo>
                    <a:pt x="533" y="24"/>
                  </a:lnTo>
                  <a:lnTo>
                    <a:pt x="515" y="18"/>
                  </a:lnTo>
                  <a:lnTo>
                    <a:pt x="496" y="12"/>
                  </a:lnTo>
                  <a:lnTo>
                    <a:pt x="477" y="8"/>
                  </a:lnTo>
                  <a:lnTo>
                    <a:pt x="457" y="5"/>
                  </a:lnTo>
                  <a:lnTo>
                    <a:pt x="438" y="1"/>
                  </a:lnTo>
                  <a:lnTo>
                    <a:pt x="417" y="0"/>
                  </a:lnTo>
                  <a:lnTo>
                    <a:pt x="3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15"/>
            <p:cNvSpPr>
              <a:spLocks/>
            </p:cNvSpPr>
            <p:nvPr/>
          </p:nvSpPr>
          <p:spPr bwMode="auto">
            <a:xfrm>
              <a:off x="3791743" y="3739753"/>
              <a:ext cx="93663" cy="93663"/>
            </a:xfrm>
            <a:custGeom>
              <a:avLst/>
              <a:gdLst>
                <a:gd name="T0" fmla="*/ 205 w 234"/>
                <a:gd name="T1" fmla="*/ 1 h 234"/>
                <a:gd name="T2" fmla="*/ 183 w 234"/>
                <a:gd name="T3" fmla="*/ 3 h 234"/>
                <a:gd name="T4" fmla="*/ 152 w 234"/>
                <a:gd name="T5" fmla="*/ 9 h 234"/>
                <a:gd name="T6" fmla="*/ 113 w 234"/>
                <a:gd name="T7" fmla="*/ 26 h 234"/>
                <a:gd name="T8" fmla="*/ 79 w 234"/>
                <a:gd name="T9" fmla="*/ 49 h 234"/>
                <a:gd name="T10" fmla="*/ 50 w 234"/>
                <a:gd name="T11" fmla="*/ 78 h 234"/>
                <a:gd name="T12" fmla="*/ 26 w 234"/>
                <a:gd name="T13" fmla="*/ 113 h 234"/>
                <a:gd name="T14" fmla="*/ 10 w 234"/>
                <a:gd name="T15" fmla="*/ 152 h 234"/>
                <a:gd name="T16" fmla="*/ 2 w 234"/>
                <a:gd name="T17" fmla="*/ 183 h 234"/>
                <a:gd name="T18" fmla="*/ 0 w 234"/>
                <a:gd name="T19" fmla="*/ 205 h 234"/>
                <a:gd name="T20" fmla="*/ 0 w 234"/>
                <a:gd name="T21" fmla="*/ 220 h 234"/>
                <a:gd name="T22" fmla="*/ 3 w 234"/>
                <a:gd name="T23" fmla="*/ 226 h 234"/>
                <a:gd name="T24" fmla="*/ 7 w 234"/>
                <a:gd name="T25" fmla="*/ 231 h 234"/>
                <a:gd name="T26" fmla="*/ 14 w 234"/>
                <a:gd name="T27" fmla="*/ 234 h 234"/>
                <a:gd name="T28" fmla="*/ 21 w 234"/>
                <a:gd name="T29" fmla="*/ 234 h 234"/>
                <a:gd name="T30" fmla="*/ 28 w 234"/>
                <a:gd name="T31" fmla="*/ 231 h 234"/>
                <a:gd name="T32" fmla="*/ 33 w 234"/>
                <a:gd name="T33" fmla="*/ 226 h 234"/>
                <a:gd name="T34" fmla="*/ 35 w 234"/>
                <a:gd name="T35" fmla="*/ 220 h 234"/>
                <a:gd name="T36" fmla="*/ 37 w 234"/>
                <a:gd name="T37" fmla="*/ 197 h 234"/>
                <a:gd name="T38" fmla="*/ 44 w 234"/>
                <a:gd name="T39" fmla="*/ 163 h 234"/>
                <a:gd name="T40" fmla="*/ 58 w 234"/>
                <a:gd name="T41" fmla="*/ 130 h 234"/>
                <a:gd name="T42" fmla="*/ 78 w 234"/>
                <a:gd name="T43" fmla="*/ 101 h 234"/>
                <a:gd name="T44" fmla="*/ 101 w 234"/>
                <a:gd name="T45" fmla="*/ 77 h 234"/>
                <a:gd name="T46" fmla="*/ 131 w 234"/>
                <a:gd name="T47" fmla="*/ 58 h 234"/>
                <a:gd name="T48" fmla="*/ 163 w 234"/>
                <a:gd name="T49" fmla="*/ 44 h 234"/>
                <a:gd name="T50" fmla="*/ 197 w 234"/>
                <a:gd name="T51" fmla="*/ 36 h 234"/>
                <a:gd name="T52" fmla="*/ 219 w 234"/>
                <a:gd name="T53" fmla="*/ 35 h 234"/>
                <a:gd name="T54" fmla="*/ 226 w 234"/>
                <a:gd name="T55" fmla="*/ 33 h 234"/>
                <a:gd name="T56" fmla="*/ 231 w 234"/>
                <a:gd name="T57" fmla="*/ 28 h 234"/>
                <a:gd name="T58" fmla="*/ 233 w 234"/>
                <a:gd name="T59" fmla="*/ 21 h 234"/>
                <a:gd name="T60" fmla="*/ 233 w 234"/>
                <a:gd name="T61" fmla="*/ 15 h 234"/>
                <a:gd name="T62" fmla="*/ 231 w 234"/>
                <a:gd name="T63" fmla="*/ 8 h 234"/>
                <a:gd name="T64" fmla="*/ 226 w 234"/>
                <a:gd name="T65" fmla="*/ 3 h 234"/>
                <a:gd name="T66" fmla="*/ 219 w 234"/>
                <a:gd name="T67" fmla="*/ 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34">
                  <a:moveTo>
                    <a:pt x="216" y="0"/>
                  </a:moveTo>
                  <a:lnTo>
                    <a:pt x="205" y="1"/>
                  </a:lnTo>
                  <a:lnTo>
                    <a:pt x="194" y="1"/>
                  </a:lnTo>
                  <a:lnTo>
                    <a:pt x="183" y="3"/>
                  </a:lnTo>
                  <a:lnTo>
                    <a:pt x="173" y="4"/>
                  </a:lnTo>
                  <a:lnTo>
                    <a:pt x="152" y="9"/>
                  </a:lnTo>
                  <a:lnTo>
                    <a:pt x="132" y="17"/>
                  </a:lnTo>
                  <a:lnTo>
                    <a:pt x="113" y="26"/>
                  </a:lnTo>
                  <a:lnTo>
                    <a:pt x="95" y="36"/>
                  </a:lnTo>
                  <a:lnTo>
                    <a:pt x="79" y="49"/>
                  </a:lnTo>
                  <a:lnTo>
                    <a:pt x="64" y="63"/>
                  </a:lnTo>
                  <a:lnTo>
                    <a:pt x="50" y="78"/>
                  </a:lnTo>
                  <a:lnTo>
                    <a:pt x="37" y="95"/>
                  </a:lnTo>
                  <a:lnTo>
                    <a:pt x="26" y="113"/>
                  </a:lnTo>
                  <a:lnTo>
                    <a:pt x="17" y="131"/>
                  </a:lnTo>
                  <a:lnTo>
                    <a:pt x="10" y="152"/>
                  </a:lnTo>
                  <a:lnTo>
                    <a:pt x="4" y="172"/>
                  </a:lnTo>
                  <a:lnTo>
                    <a:pt x="2" y="183"/>
                  </a:lnTo>
                  <a:lnTo>
                    <a:pt x="1" y="194"/>
                  </a:lnTo>
                  <a:lnTo>
                    <a:pt x="0" y="205"/>
                  </a:lnTo>
                  <a:lnTo>
                    <a:pt x="0" y="216"/>
                  </a:lnTo>
                  <a:lnTo>
                    <a:pt x="0" y="220"/>
                  </a:lnTo>
                  <a:lnTo>
                    <a:pt x="1" y="223"/>
                  </a:lnTo>
                  <a:lnTo>
                    <a:pt x="3" y="226"/>
                  </a:lnTo>
                  <a:lnTo>
                    <a:pt x="5" y="229"/>
                  </a:lnTo>
                  <a:lnTo>
                    <a:pt x="7" y="231"/>
                  </a:lnTo>
                  <a:lnTo>
                    <a:pt x="11" y="233"/>
                  </a:lnTo>
                  <a:lnTo>
                    <a:pt x="14" y="234"/>
                  </a:lnTo>
                  <a:lnTo>
                    <a:pt x="18" y="234"/>
                  </a:lnTo>
                  <a:lnTo>
                    <a:pt x="21" y="234"/>
                  </a:lnTo>
                  <a:lnTo>
                    <a:pt x="25" y="233"/>
                  </a:lnTo>
                  <a:lnTo>
                    <a:pt x="28" y="231"/>
                  </a:lnTo>
                  <a:lnTo>
                    <a:pt x="31" y="229"/>
                  </a:lnTo>
                  <a:lnTo>
                    <a:pt x="33" y="226"/>
                  </a:lnTo>
                  <a:lnTo>
                    <a:pt x="34" y="223"/>
                  </a:lnTo>
                  <a:lnTo>
                    <a:pt x="35" y="220"/>
                  </a:lnTo>
                  <a:lnTo>
                    <a:pt x="35" y="216"/>
                  </a:lnTo>
                  <a:lnTo>
                    <a:pt x="37" y="197"/>
                  </a:lnTo>
                  <a:lnTo>
                    <a:pt x="40" y="180"/>
                  </a:lnTo>
                  <a:lnTo>
                    <a:pt x="44" y="163"/>
                  </a:lnTo>
                  <a:lnTo>
                    <a:pt x="51" y="145"/>
                  </a:lnTo>
                  <a:lnTo>
                    <a:pt x="58" y="130"/>
                  </a:lnTo>
                  <a:lnTo>
                    <a:pt x="67" y="115"/>
                  </a:lnTo>
                  <a:lnTo>
                    <a:pt x="78" y="101"/>
                  </a:lnTo>
                  <a:lnTo>
                    <a:pt x="88" y="88"/>
                  </a:lnTo>
                  <a:lnTo>
                    <a:pt x="101" y="77"/>
                  </a:lnTo>
                  <a:lnTo>
                    <a:pt x="115" y="67"/>
                  </a:lnTo>
                  <a:lnTo>
                    <a:pt x="131" y="58"/>
                  </a:lnTo>
                  <a:lnTo>
                    <a:pt x="146" y="50"/>
                  </a:lnTo>
                  <a:lnTo>
                    <a:pt x="163" y="44"/>
                  </a:lnTo>
                  <a:lnTo>
                    <a:pt x="180" y="40"/>
                  </a:lnTo>
                  <a:lnTo>
                    <a:pt x="197" y="36"/>
                  </a:lnTo>
                  <a:lnTo>
                    <a:pt x="216" y="36"/>
                  </a:lnTo>
                  <a:lnTo>
                    <a:pt x="219" y="35"/>
                  </a:lnTo>
                  <a:lnTo>
                    <a:pt x="223" y="34"/>
                  </a:lnTo>
                  <a:lnTo>
                    <a:pt x="226" y="33"/>
                  </a:lnTo>
                  <a:lnTo>
                    <a:pt x="229" y="31"/>
                  </a:lnTo>
                  <a:lnTo>
                    <a:pt x="231" y="28"/>
                  </a:lnTo>
                  <a:lnTo>
                    <a:pt x="232" y="24"/>
                  </a:lnTo>
                  <a:lnTo>
                    <a:pt x="233" y="21"/>
                  </a:lnTo>
                  <a:lnTo>
                    <a:pt x="234" y="18"/>
                  </a:lnTo>
                  <a:lnTo>
                    <a:pt x="233" y="15"/>
                  </a:lnTo>
                  <a:lnTo>
                    <a:pt x="232" y="10"/>
                  </a:lnTo>
                  <a:lnTo>
                    <a:pt x="231" y="8"/>
                  </a:lnTo>
                  <a:lnTo>
                    <a:pt x="229" y="5"/>
                  </a:lnTo>
                  <a:lnTo>
                    <a:pt x="226" y="3"/>
                  </a:lnTo>
                  <a:lnTo>
                    <a:pt x="223" y="2"/>
                  </a:lnTo>
                  <a:lnTo>
                    <a:pt x="219" y="1"/>
                  </a:lnTo>
                  <a:lnTo>
                    <a:pt x="2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 name="Group 87"/>
          <p:cNvGrpSpPr/>
          <p:nvPr/>
        </p:nvGrpSpPr>
        <p:grpSpPr>
          <a:xfrm>
            <a:off x="2763958" y="5336354"/>
            <a:ext cx="343501" cy="289831"/>
            <a:chOff x="5477668" y="2796778"/>
            <a:chExt cx="457200" cy="385763"/>
          </a:xfrm>
          <a:solidFill>
            <a:schemeClr val="tx1">
              <a:lumMod val="75000"/>
              <a:lumOff val="25000"/>
            </a:schemeClr>
          </a:solidFill>
        </p:grpSpPr>
        <p:sp>
          <p:nvSpPr>
            <p:cNvPr id="89" name="Freeform 121"/>
            <p:cNvSpPr>
              <a:spLocks noEditPoints="1"/>
            </p:cNvSpPr>
            <p:nvPr/>
          </p:nvSpPr>
          <p:spPr bwMode="auto">
            <a:xfrm>
              <a:off x="5591968" y="2896790"/>
              <a:ext cx="228600" cy="228600"/>
            </a:xfrm>
            <a:custGeom>
              <a:avLst/>
              <a:gdLst>
                <a:gd name="T0" fmla="*/ 429 w 576"/>
                <a:gd name="T1" fmla="*/ 452 h 576"/>
                <a:gd name="T2" fmla="*/ 365 w 576"/>
                <a:gd name="T3" fmla="*/ 490 h 576"/>
                <a:gd name="T4" fmla="*/ 284 w 576"/>
                <a:gd name="T5" fmla="*/ 504 h 576"/>
                <a:gd name="T6" fmla="*/ 203 w 576"/>
                <a:gd name="T7" fmla="*/ 486 h 576"/>
                <a:gd name="T8" fmla="*/ 157 w 576"/>
                <a:gd name="T9" fmla="*/ 459 h 576"/>
                <a:gd name="T10" fmla="*/ 124 w 576"/>
                <a:gd name="T11" fmla="*/ 429 h 576"/>
                <a:gd name="T12" fmla="*/ 86 w 576"/>
                <a:gd name="T13" fmla="*/ 365 h 576"/>
                <a:gd name="T14" fmla="*/ 72 w 576"/>
                <a:gd name="T15" fmla="*/ 283 h 576"/>
                <a:gd name="T16" fmla="*/ 90 w 576"/>
                <a:gd name="T17" fmla="*/ 202 h 576"/>
                <a:gd name="T18" fmla="*/ 117 w 576"/>
                <a:gd name="T19" fmla="*/ 156 h 576"/>
                <a:gd name="T20" fmla="*/ 147 w 576"/>
                <a:gd name="T21" fmla="*/ 125 h 576"/>
                <a:gd name="T22" fmla="*/ 211 w 576"/>
                <a:gd name="T23" fmla="*/ 86 h 576"/>
                <a:gd name="T24" fmla="*/ 292 w 576"/>
                <a:gd name="T25" fmla="*/ 72 h 576"/>
                <a:gd name="T26" fmla="*/ 374 w 576"/>
                <a:gd name="T27" fmla="*/ 90 h 576"/>
                <a:gd name="T28" fmla="*/ 420 w 576"/>
                <a:gd name="T29" fmla="*/ 117 h 576"/>
                <a:gd name="T30" fmla="*/ 451 w 576"/>
                <a:gd name="T31" fmla="*/ 147 h 576"/>
                <a:gd name="T32" fmla="*/ 489 w 576"/>
                <a:gd name="T33" fmla="*/ 211 h 576"/>
                <a:gd name="T34" fmla="*/ 504 w 576"/>
                <a:gd name="T35" fmla="*/ 292 h 576"/>
                <a:gd name="T36" fmla="*/ 486 w 576"/>
                <a:gd name="T37" fmla="*/ 373 h 576"/>
                <a:gd name="T38" fmla="*/ 459 w 576"/>
                <a:gd name="T39" fmla="*/ 419 h 576"/>
                <a:gd name="T40" fmla="*/ 273 w 576"/>
                <a:gd name="T41" fmla="*/ 0 h 576"/>
                <a:gd name="T42" fmla="*/ 216 w 576"/>
                <a:gd name="T43" fmla="*/ 9 h 576"/>
                <a:gd name="T44" fmla="*/ 163 w 576"/>
                <a:gd name="T45" fmla="*/ 28 h 576"/>
                <a:gd name="T46" fmla="*/ 116 w 576"/>
                <a:gd name="T47" fmla="*/ 58 h 576"/>
                <a:gd name="T48" fmla="*/ 74 w 576"/>
                <a:gd name="T49" fmla="*/ 94 h 576"/>
                <a:gd name="T50" fmla="*/ 42 w 576"/>
                <a:gd name="T51" fmla="*/ 139 h 576"/>
                <a:gd name="T52" fmla="*/ 17 w 576"/>
                <a:gd name="T53" fmla="*/ 189 h 576"/>
                <a:gd name="T54" fmla="*/ 3 w 576"/>
                <a:gd name="T55" fmla="*/ 244 h 576"/>
                <a:gd name="T56" fmla="*/ 0 w 576"/>
                <a:gd name="T57" fmla="*/ 303 h 576"/>
                <a:gd name="T58" fmla="*/ 9 w 576"/>
                <a:gd name="T59" fmla="*/ 360 h 576"/>
                <a:gd name="T60" fmla="*/ 28 w 576"/>
                <a:gd name="T61" fmla="*/ 413 h 576"/>
                <a:gd name="T62" fmla="*/ 57 w 576"/>
                <a:gd name="T63" fmla="*/ 460 h 576"/>
                <a:gd name="T64" fmla="*/ 94 w 576"/>
                <a:gd name="T65" fmla="*/ 501 h 576"/>
                <a:gd name="T66" fmla="*/ 138 w 576"/>
                <a:gd name="T67" fmla="*/ 534 h 576"/>
                <a:gd name="T68" fmla="*/ 189 w 576"/>
                <a:gd name="T69" fmla="*/ 559 h 576"/>
                <a:gd name="T70" fmla="*/ 244 w 576"/>
                <a:gd name="T71" fmla="*/ 573 h 576"/>
                <a:gd name="T72" fmla="*/ 302 w 576"/>
                <a:gd name="T73" fmla="*/ 576 h 576"/>
                <a:gd name="T74" fmla="*/ 360 w 576"/>
                <a:gd name="T75" fmla="*/ 567 h 576"/>
                <a:gd name="T76" fmla="*/ 413 w 576"/>
                <a:gd name="T77" fmla="*/ 548 h 576"/>
                <a:gd name="T78" fmla="*/ 460 w 576"/>
                <a:gd name="T79" fmla="*/ 519 h 576"/>
                <a:gd name="T80" fmla="*/ 501 w 576"/>
                <a:gd name="T81" fmla="*/ 482 h 576"/>
                <a:gd name="T82" fmla="*/ 535 w 576"/>
                <a:gd name="T83" fmla="*/ 438 h 576"/>
                <a:gd name="T84" fmla="*/ 558 w 576"/>
                <a:gd name="T85" fmla="*/ 387 h 576"/>
                <a:gd name="T86" fmla="*/ 572 w 576"/>
                <a:gd name="T87" fmla="*/ 332 h 576"/>
                <a:gd name="T88" fmla="*/ 576 w 576"/>
                <a:gd name="T89" fmla="*/ 274 h 576"/>
                <a:gd name="T90" fmla="*/ 567 w 576"/>
                <a:gd name="T91" fmla="*/ 216 h 576"/>
                <a:gd name="T92" fmla="*/ 548 w 576"/>
                <a:gd name="T93" fmla="*/ 163 h 576"/>
                <a:gd name="T94" fmla="*/ 518 w 576"/>
                <a:gd name="T95" fmla="*/ 116 h 576"/>
                <a:gd name="T96" fmla="*/ 482 w 576"/>
                <a:gd name="T97" fmla="*/ 75 h 576"/>
                <a:gd name="T98" fmla="*/ 437 w 576"/>
                <a:gd name="T99" fmla="*/ 41 h 576"/>
                <a:gd name="T100" fmla="*/ 387 w 576"/>
                <a:gd name="T101" fmla="*/ 18 h 576"/>
                <a:gd name="T102" fmla="*/ 332 w 576"/>
                <a:gd name="T103" fmla="*/ 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451" y="428"/>
                  </a:moveTo>
                  <a:lnTo>
                    <a:pt x="445" y="437"/>
                  </a:lnTo>
                  <a:lnTo>
                    <a:pt x="436" y="444"/>
                  </a:lnTo>
                  <a:lnTo>
                    <a:pt x="429" y="452"/>
                  </a:lnTo>
                  <a:lnTo>
                    <a:pt x="420" y="458"/>
                  </a:lnTo>
                  <a:lnTo>
                    <a:pt x="403" y="471"/>
                  </a:lnTo>
                  <a:lnTo>
                    <a:pt x="384" y="481"/>
                  </a:lnTo>
                  <a:lnTo>
                    <a:pt x="365" y="490"/>
                  </a:lnTo>
                  <a:lnTo>
                    <a:pt x="346" y="496"/>
                  </a:lnTo>
                  <a:lnTo>
                    <a:pt x="325" y="500"/>
                  </a:lnTo>
                  <a:lnTo>
                    <a:pt x="305" y="504"/>
                  </a:lnTo>
                  <a:lnTo>
                    <a:pt x="284" y="504"/>
                  </a:lnTo>
                  <a:lnTo>
                    <a:pt x="264" y="503"/>
                  </a:lnTo>
                  <a:lnTo>
                    <a:pt x="243" y="499"/>
                  </a:lnTo>
                  <a:lnTo>
                    <a:pt x="222" y="494"/>
                  </a:lnTo>
                  <a:lnTo>
                    <a:pt x="203" y="486"/>
                  </a:lnTo>
                  <a:lnTo>
                    <a:pt x="184" y="477"/>
                  </a:lnTo>
                  <a:lnTo>
                    <a:pt x="174" y="471"/>
                  </a:lnTo>
                  <a:lnTo>
                    <a:pt x="165" y="466"/>
                  </a:lnTo>
                  <a:lnTo>
                    <a:pt x="157" y="459"/>
                  </a:lnTo>
                  <a:lnTo>
                    <a:pt x="148" y="452"/>
                  </a:lnTo>
                  <a:lnTo>
                    <a:pt x="139" y="444"/>
                  </a:lnTo>
                  <a:lnTo>
                    <a:pt x="132" y="437"/>
                  </a:lnTo>
                  <a:lnTo>
                    <a:pt x="124" y="429"/>
                  </a:lnTo>
                  <a:lnTo>
                    <a:pt x="118" y="420"/>
                  </a:lnTo>
                  <a:lnTo>
                    <a:pt x="105" y="403"/>
                  </a:lnTo>
                  <a:lnTo>
                    <a:pt x="95" y="385"/>
                  </a:lnTo>
                  <a:lnTo>
                    <a:pt x="86" y="365"/>
                  </a:lnTo>
                  <a:lnTo>
                    <a:pt x="80" y="345"/>
                  </a:lnTo>
                  <a:lnTo>
                    <a:pt x="76" y="325"/>
                  </a:lnTo>
                  <a:lnTo>
                    <a:pt x="72" y="305"/>
                  </a:lnTo>
                  <a:lnTo>
                    <a:pt x="72" y="283"/>
                  </a:lnTo>
                  <a:lnTo>
                    <a:pt x="73" y="263"/>
                  </a:lnTo>
                  <a:lnTo>
                    <a:pt x="77" y="242"/>
                  </a:lnTo>
                  <a:lnTo>
                    <a:pt x="82" y="222"/>
                  </a:lnTo>
                  <a:lnTo>
                    <a:pt x="90" y="202"/>
                  </a:lnTo>
                  <a:lnTo>
                    <a:pt x="99" y="183"/>
                  </a:lnTo>
                  <a:lnTo>
                    <a:pt x="105" y="174"/>
                  </a:lnTo>
                  <a:lnTo>
                    <a:pt x="110" y="165"/>
                  </a:lnTo>
                  <a:lnTo>
                    <a:pt x="117" y="156"/>
                  </a:lnTo>
                  <a:lnTo>
                    <a:pt x="124" y="147"/>
                  </a:lnTo>
                  <a:lnTo>
                    <a:pt x="132" y="140"/>
                  </a:lnTo>
                  <a:lnTo>
                    <a:pt x="139" y="131"/>
                  </a:lnTo>
                  <a:lnTo>
                    <a:pt x="147" y="125"/>
                  </a:lnTo>
                  <a:lnTo>
                    <a:pt x="155" y="117"/>
                  </a:lnTo>
                  <a:lnTo>
                    <a:pt x="173" y="105"/>
                  </a:lnTo>
                  <a:lnTo>
                    <a:pt x="191" y="94"/>
                  </a:lnTo>
                  <a:lnTo>
                    <a:pt x="211" y="86"/>
                  </a:lnTo>
                  <a:lnTo>
                    <a:pt x="231" y="80"/>
                  </a:lnTo>
                  <a:lnTo>
                    <a:pt x="251" y="75"/>
                  </a:lnTo>
                  <a:lnTo>
                    <a:pt x="271" y="73"/>
                  </a:lnTo>
                  <a:lnTo>
                    <a:pt x="292" y="72"/>
                  </a:lnTo>
                  <a:lnTo>
                    <a:pt x="313" y="74"/>
                  </a:lnTo>
                  <a:lnTo>
                    <a:pt x="334" y="77"/>
                  </a:lnTo>
                  <a:lnTo>
                    <a:pt x="353" y="82"/>
                  </a:lnTo>
                  <a:lnTo>
                    <a:pt x="374" y="90"/>
                  </a:lnTo>
                  <a:lnTo>
                    <a:pt x="393" y="99"/>
                  </a:lnTo>
                  <a:lnTo>
                    <a:pt x="402" y="104"/>
                  </a:lnTo>
                  <a:lnTo>
                    <a:pt x="411" y="111"/>
                  </a:lnTo>
                  <a:lnTo>
                    <a:pt x="420" y="117"/>
                  </a:lnTo>
                  <a:lnTo>
                    <a:pt x="429" y="123"/>
                  </a:lnTo>
                  <a:lnTo>
                    <a:pt x="436" y="131"/>
                  </a:lnTo>
                  <a:lnTo>
                    <a:pt x="445" y="140"/>
                  </a:lnTo>
                  <a:lnTo>
                    <a:pt x="451" y="147"/>
                  </a:lnTo>
                  <a:lnTo>
                    <a:pt x="459" y="156"/>
                  </a:lnTo>
                  <a:lnTo>
                    <a:pt x="471" y="173"/>
                  </a:lnTo>
                  <a:lnTo>
                    <a:pt x="482" y="192"/>
                  </a:lnTo>
                  <a:lnTo>
                    <a:pt x="489" y="211"/>
                  </a:lnTo>
                  <a:lnTo>
                    <a:pt x="496" y="230"/>
                  </a:lnTo>
                  <a:lnTo>
                    <a:pt x="501" y="251"/>
                  </a:lnTo>
                  <a:lnTo>
                    <a:pt x="503" y="271"/>
                  </a:lnTo>
                  <a:lnTo>
                    <a:pt x="504" y="292"/>
                  </a:lnTo>
                  <a:lnTo>
                    <a:pt x="502" y="312"/>
                  </a:lnTo>
                  <a:lnTo>
                    <a:pt x="499" y="333"/>
                  </a:lnTo>
                  <a:lnTo>
                    <a:pt x="494" y="354"/>
                  </a:lnTo>
                  <a:lnTo>
                    <a:pt x="486" y="373"/>
                  </a:lnTo>
                  <a:lnTo>
                    <a:pt x="477" y="392"/>
                  </a:lnTo>
                  <a:lnTo>
                    <a:pt x="472" y="402"/>
                  </a:lnTo>
                  <a:lnTo>
                    <a:pt x="465" y="411"/>
                  </a:lnTo>
                  <a:lnTo>
                    <a:pt x="459" y="419"/>
                  </a:lnTo>
                  <a:lnTo>
                    <a:pt x="451" y="428"/>
                  </a:lnTo>
                  <a:lnTo>
                    <a:pt x="451" y="428"/>
                  </a:lnTo>
                  <a:close/>
                  <a:moveTo>
                    <a:pt x="288" y="0"/>
                  </a:moveTo>
                  <a:lnTo>
                    <a:pt x="273" y="0"/>
                  </a:lnTo>
                  <a:lnTo>
                    <a:pt x="258" y="1"/>
                  </a:lnTo>
                  <a:lnTo>
                    <a:pt x="244" y="4"/>
                  </a:lnTo>
                  <a:lnTo>
                    <a:pt x="230" y="6"/>
                  </a:lnTo>
                  <a:lnTo>
                    <a:pt x="216" y="9"/>
                  </a:lnTo>
                  <a:lnTo>
                    <a:pt x="202" y="13"/>
                  </a:lnTo>
                  <a:lnTo>
                    <a:pt x="189" y="18"/>
                  </a:lnTo>
                  <a:lnTo>
                    <a:pt x="176" y="23"/>
                  </a:lnTo>
                  <a:lnTo>
                    <a:pt x="163" y="28"/>
                  </a:lnTo>
                  <a:lnTo>
                    <a:pt x="151" y="35"/>
                  </a:lnTo>
                  <a:lnTo>
                    <a:pt x="138" y="41"/>
                  </a:lnTo>
                  <a:lnTo>
                    <a:pt x="127" y="49"/>
                  </a:lnTo>
                  <a:lnTo>
                    <a:pt x="116" y="58"/>
                  </a:lnTo>
                  <a:lnTo>
                    <a:pt x="105" y="66"/>
                  </a:lnTo>
                  <a:lnTo>
                    <a:pt x="94" y="75"/>
                  </a:lnTo>
                  <a:lnTo>
                    <a:pt x="84" y="85"/>
                  </a:lnTo>
                  <a:lnTo>
                    <a:pt x="74" y="94"/>
                  </a:lnTo>
                  <a:lnTo>
                    <a:pt x="66" y="105"/>
                  </a:lnTo>
                  <a:lnTo>
                    <a:pt x="57" y="116"/>
                  </a:lnTo>
                  <a:lnTo>
                    <a:pt x="50" y="127"/>
                  </a:lnTo>
                  <a:lnTo>
                    <a:pt x="42" y="139"/>
                  </a:lnTo>
                  <a:lnTo>
                    <a:pt x="35" y="150"/>
                  </a:lnTo>
                  <a:lnTo>
                    <a:pt x="28" y="163"/>
                  </a:lnTo>
                  <a:lnTo>
                    <a:pt x="23" y="176"/>
                  </a:lnTo>
                  <a:lnTo>
                    <a:pt x="17" y="189"/>
                  </a:lnTo>
                  <a:lnTo>
                    <a:pt x="13" y="202"/>
                  </a:lnTo>
                  <a:lnTo>
                    <a:pt x="9" y="216"/>
                  </a:lnTo>
                  <a:lnTo>
                    <a:pt x="5" y="230"/>
                  </a:lnTo>
                  <a:lnTo>
                    <a:pt x="3" y="244"/>
                  </a:lnTo>
                  <a:lnTo>
                    <a:pt x="1" y="258"/>
                  </a:lnTo>
                  <a:lnTo>
                    <a:pt x="0" y="274"/>
                  </a:lnTo>
                  <a:lnTo>
                    <a:pt x="0" y="288"/>
                  </a:lnTo>
                  <a:lnTo>
                    <a:pt x="0" y="303"/>
                  </a:lnTo>
                  <a:lnTo>
                    <a:pt x="1" y="318"/>
                  </a:lnTo>
                  <a:lnTo>
                    <a:pt x="3" y="332"/>
                  </a:lnTo>
                  <a:lnTo>
                    <a:pt x="5" y="346"/>
                  </a:lnTo>
                  <a:lnTo>
                    <a:pt x="9" y="360"/>
                  </a:lnTo>
                  <a:lnTo>
                    <a:pt x="13" y="374"/>
                  </a:lnTo>
                  <a:lnTo>
                    <a:pt x="17" y="387"/>
                  </a:lnTo>
                  <a:lnTo>
                    <a:pt x="23" y="400"/>
                  </a:lnTo>
                  <a:lnTo>
                    <a:pt x="28" y="413"/>
                  </a:lnTo>
                  <a:lnTo>
                    <a:pt x="35" y="425"/>
                  </a:lnTo>
                  <a:lnTo>
                    <a:pt x="42" y="438"/>
                  </a:lnTo>
                  <a:lnTo>
                    <a:pt x="50" y="449"/>
                  </a:lnTo>
                  <a:lnTo>
                    <a:pt x="57" y="460"/>
                  </a:lnTo>
                  <a:lnTo>
                    <a:pt x="66" y="471"/>
                  </a:lnTo>
                  <a:lnTo>
                    <a:pt x="74" y="482"/>
                  </a:lnTo>
                  <a:lnTo>
                    <a:pt x="84" y="492"/>
                  </a:lnTo>
                  <a:lnTo>
                    <a:pt x="94" y="501"/>
                  </a:lnTo>
                  <a:lnTo>
                    <a:pt x="105" y="510"/>
                  </a:lnTo>
                  <a:lnTo>
                    <a:pt x="116" y="519"/>
                  </a:lnTo>
                  <a:lnTo>
                    <a:pt x="127" y="526"/>
                  </a:lnTo>
                  <a:lnTo>
                    <a:pt x="138" y="534"/>
                  </a:lnTo>
                  <a:lnTo>
                    <a:pt x="151" y="541"/>
                  </a:lnTo>
                  <a:lnTo>
                    <a:pt x="163" y="548"/>
                  </a:lnTo>
                  <a:lnTo>
                    <a:pt x="176" y="553"/>
                  </a:lnTo>
                  <a:lnTo>
                    <a:pt x="189" y="559"/>
                  </a:lnTo>
                  <a:lnTo>
                    <a:pt x="202" y="563"/>
                  </a:lnTo>
                  <a:lnTo>
                    <a:pt x="216" y="567"/>
                  </a:lnTo>
                  <a:lnTo>
                    <a:pt x="230" y="571"/>
                  </a:lnTo>
                  <a:lnTo>
                    <a:pt x="244" y="573"/>
                  </a:lnTo>
                  <a:lnTo>
                    <a:pt x="258" y="575"/>
                  </a:lnTo>
                  <a:lnTo>
                    <a:pt x="273" y="576"/>
                  </a:lnTo>
                  <a:lnTo>
                    <a:pt x="288" y="576"/>
                  </a:lnTo>
                  <a:lnTo>
                    <a:pt x="302" y="576"/>
                  </a:lnTo>
                  <a:lnTo>
                    <a:pt x="318" y="575"/>
                  </a:lnTo>
                  <a:lnTo>
                    <a:pt x="332" y="573"/>
                  </a:lnTo>
                  <a:lnTo>
                    <a:pt x="346" y="571"/>
                  </a:lnTo>
                  <a:lnTo>
                    <a:pt x="360" y="567"/>
                  </a:lnTo>
                  <a:lnTo>
                    <a:pt x="374" y="563"/>
                  </a:lnTo>
                  <a:lnTo>
                    <a:pt x="387" y="559"/>
                  </a:lnTo>
                  <a:lnTo>
                    <a:pt x="400" y="553"/>
                  </a:lnTo>
                  <a:lnTo>
                    <a:pt x="413" y="548"/>
                  </a:lnTo>
                  <a:lnTo>
                    <a:pt x="426" y="541"/>
                  </a:lnTo>
                  <a:lnTo>
                    <a:pt x="437" y="534"/>
                  </a:lnTo>
                  <a:lnTo>
                    <a:pt x="449" y="526"/>
                  </a:lnTo>
                  <a:lnTo>
                    <a:pt x="460" y="519"/>
                  </a:lnTo>
                  <a:lnTo>
                    <a:pt x="471" y="510"/>
                  </a:lnTo>
                  <a:lnTo>
                    <a:pt x="482" y="501"/>
                  </a:lnTo>
                  <a:lnTo>
                    <a:pt x="491" y="492"/>
                  </a:lnTo>
                  <a:lnTo>
                    <a:pt x="501" y="482"/>
                  </a:lnTo>
                  <a:lnTo>
                    <a:pt x="510" y="471"/>
                  </a:lnTo>
                  <a:lnTo>
                    <a:pt x="518" y="460"/>
                  </a:lnTo>
                  <a:lnTo>
                    <a:pt x="527" y="449"/>
                  </a:lnTo>
                  <a:lnTo>
                    <a:pt x="535" y="438"/>
                  </a:lnTo>
                  <a:lnTo>
                    <a:pt x="541" y="425"/>
                  </a:lnTo>
                  <a:lnTo>
                    <a:pt x="548" y="413"/>
                  </a:lnTo>
                  <a:lnTo>
                    <a:pt x="553" y="400"/>
                  </a:lnTo>
                  <a:lnTo>
                    <a:pt x="558" y="387"/>
                  </a:lnTo>
                  <a:lnTo>
                    <a:pt x="563" y="374"/>
                  </a:lnTo>
                  <a:lnTo>
                    <a:pt x="567" y="360"/>
                  </a:lnTo>
                  <a:lnTo>
                    <a:pt x="570" y="346"/>
                  </a:lnTo>
                  <a:lnTo>
                    <a:pt x="572" y="332"/>
                  </a:lnTo>
                  <a:lnTo>
                    <a:pt x="575" y="318"/>
                  </a:lnTo>
                  <a:lnTo>
                    <a:pt x="576" y="303"/>
                  </a:lnTo>
                  <a:lnTo>
                    <a:pt x="576" y="288"/>
                  </a:lnTo>
                  <a:lnTo>
                    <a:pt x="576" y="274"/>
                  </a:lnTo>
                  <a:lnTo>
                    <a:pt x="575" y="258"/>
                  </a:lnTo>
                  <a:lnTo>
                    <a:pt x="572" y="244"/>
                  </a:lnTo>
                  <a:lnTo>
                    <a:pt x="570" y="230"/>
                  </a:lnTo>
                  <a:lnTo>
                    <a:pt x="567" y="216"/>
                  </a:lnTo>
                  <a:lnTo>
                    <a:pt x="563" y="202"/>
                  </a:lnTo>
                  <a:lnTo>
                    <a:pt x="558" y="189"/>
                  </a:lnTo>
                  <a:lnTo>
                    <a:pt x="553" y="176"/>
                  </a:lnTo>
                  <a:lnTo>
                    <a:pt x="548" y="163"/>
                  </a:lnTo>
                  <a:lnTo>
                    <a:pt x="541" y="150"/>
                  </a:lnTo>
                  <a:lnTo>
                    <a:pt x="535" y="139"/>
                  </a:lnTo>
                  <a:lnTo>
                    <a:pt x="527" y="127"/>
                  </a:lnTo>
                  <a:lnTo>
                    <a:pt x="518" y="116"/>
                  </a:lnTo>
                  <a:lnTo>
                    <a:pt x="510" y="105"/>
                  </a:lnTo>
                  <a:lnTo>
                    <a:pt x="501" y="94"/>
                  </a:lnTo>
                  <a:lnTo>
                    <a:pt x="491" y="85"/>
                  </a:lnTo>
                  <a:lnTo>
                    <a:pt x="482" y="75"/>
                  </a:lnTo>
                  <a:lnTo>
                    <a:pt x="471" y="66"/>
                  </a:lnTo>
                  <a:lnTo>
                    <a:pt x="460" y="58"/>
                  </a:lnTo>
                  <a:lnTo>
                    <a:pt x="449" y="49"/>
                  </a:lnTo>
                  <a:lnTo>
                    <a:pt x="437" y="41"/>
                  </a:lnTo>
                  <a:lnTo>
                    <a:pt x="426" y="35"/>
                  </a:lnTo>
                  <a:lnTo>
                    <a:pt x="413" y="28"/>
                  </a:lnTo>
                  <a:lnTo>
                    <a:pt x="400" y="23"/>
                  </a:lnTo>
                  <a:lnTo>
                    <a:pt x="387" y="18"/>
                  </a:lnTo>
                  <a:lnTo>
                    <a:pt x="374" y="13"/>
                  </a:lnTo>
                  <a:lnTo>
                    <a:pt x="360" y="9"/>
                  </a:lnTo>
                  <a:lnTo>
                    <a:pt x="346" y="6"/>
                  </a:lnTo>
                  <a:lnTo>
                    <a:pt x="332" y="4"/>
                  </a:lnTo>
                  <a:lnTo>
                    <a:pt x="318" y="1"/>
                  </a:lnTo>
                  <a:lnTo>
                    <a:pt x="302" y="0"/>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22"/>
            <p:cNvSpPr>
              <a:spLocks/>
            </p:cNvSpPr>
            <p:nvPr/>
          </p:nvSpPr>
          <p:spPr bwMode="auto">
            <a:xfrm>
              <a:off x="5649118" y="2953940"/>
              <a:ext cx="63500" cy="65088"/>
            </a:xfrm>
            <a:custGeom>
              <a:avLst/>
              <a:gdLst>
                <a:gd name="T0" fmla="*/ 129 w 162"/>
                <a:gd name="T1" fmla="*/ 1 h 162"/>
                <a:gd name="T2" fmla="*/ 101 w 162"/>
                <a:gd name="T3" fmla="*/ 6 h 162"/>
                <a:gd name="T4" fmla="*/ 75 w 162"/>
                <a:gd name="T5" fmla="*/ 17 h 162"/>
                <a:gd name="T6" fmla="*/ 53 w 162"/>
                <a:gd name="T7" fmla="*/ 32 h 162"/>
                <a:gd name="T8" fmla="*/ 33 w 162"/>
                <a:gd name="T9" fmla="*/ 53 h 162"/>
                <a:gd name="T10" fmla="*/ 17 w 162"/>
                <a:gd name="T11" fmla="*/ 76 h 162"/>
                <a:gd name="T12" fmla="*/ 6 w 162"/>
                <a:gd name="T13" fmla="*/ 102 h 162"/>
                <a:gd name="T14" fmla="*/ 1 w 162"/>
                <a:gd name="T15" fmla="*/ 130 h 162"/>
                <a:gd name="T16" fmla="*/ 0 w 162"/>
                <a:gd name="T17" fmla="*/ 144 h 162"/>
                <a:gd name="T18" fmla="*/ 2 w 162"/>
                <a:gd name="T19" fmla="*/ 151 h 162"/>
                <a:gd name="T20" fmla="*/ 5 w 162"/>
                <a:gd name="T21" fmla="*/ 157 h 162"/>
                <a:gd name="T22" fmla="*/ 11 w 162"/>
                <a:gd name="T23" fmla="*/ 161 h 162"/>
                <a:gd name="T24" fmla="*/ 18 w 162"/>
                <a:gd name="T25" fmla="*/ 162 h 162"/>
                <a:gd name="T26" fmla="*/ 24 w 162"/>
                <a:gd name="T27" fmla="*/ 161 h 162"/>
                <a:gd name="T28" fmla="*/ 31 w 162"/>
                <a:gd name="T29" fmla="*/ 157 h 162"/>
                <a:gd name="T30" fmla="*/ 34 w 162"/>
                <a:gd name="T31" fmla="*/ 151 h 162"/>
                <a:gd name="T32" fmla="*/ 36 w 162"/>
                <a:gd name="T33" fmla="*/ 144 h 162"/>
                <a:gd name="T34" fmla="*/ 36 w 162"/>
                <a:gd name="T35" fmla="*/ 133 h 162"/>
                <a:gd name="T36" fmla="*/ 41 w 162"/>
                <a:gd name="T37" fmla="*/ 112 h 162"/>
                <a:gd name="T38" fmla="*/ 49 w 162"/>
                <a:gd name="T39" fmla="*/ 93 h 162"/>
                <a:gd name="T40" fmla="*/ 60 w 162"/>
                <a:gd name="T41" fmla="*/ 76 h 162"/>
                <a:gd name="T42" fmla="*/ 75 w 162"/>
                <a:gd name="T43" fmla="*/ 60 h 162"/>
                <a:gd name="T44" fmla="*/ 93 w 162"/>
                <a:gd name="T45" fmla="*/ 49 h 162"/>
                <a:gd name="T46" fmla="*/ 112 w 162"/>
                <a:gd name="T47" fmla="*/ 41 h 162"/>
                <a:gd name="T48" fmla="*/ 132 w 162"/>
                <a:gd name="T49" fmla="*/ 37 h 162"/>
                <a:gd name="T50" fmla="*/ 148 w 162"/>
                <a:gd name="T51" fmla="*/ 36 h 162"/>
                <a:gd name="T52" fmla="*/ 154 w 162"/>
                <a:gd name="T53" fmla="*/ 32 h 162"/>
                <a:gd name="T54" fmla="*/ 158 w 162"/>
                <a:gd name="T55" fmla="*/ 28 h 162"/>
                <a:gd name="T56" fmla="*/ 162 w 162"/>
                <a:gd name="T57" fmla="*/ 22 h 162"/>
                <a:gd name="T58" fmla="*/ 162 w 162"/>
                <a:gd name="T59" fmla="*/ 14 h 162"/>
                <a:gd name="T60" fmla="*/ 158 w 162"/>
                <a:gd name="T61" fmla="*/ 8 h 162"/>
                <a:gd name="T62" fmla="*/ 154 w 162"/>
                <a:gd name="T63" fmla="*/ 3 h 162"/>
                <a:gd name="T64" fmla="*/ 148 w 162"/>
                <a:gd name="T6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162">
                  <a:moveTo>
                    <a:pt x="144" y="0"/>
                  </a:moveTo>
                  <a:lnTo>
                    <a:pt x="129" y="1"/>
                  </a:lnTo>
                  <a:lnTo>
                    <a:pt x="115" y="3"/>
                  </a:lnTo>
                  <a:lnTo>
                    <a:pt x="101" y="6"/>
                  </a:lnTo>
                  <a:lnTo>
                    <a:pt x="88" y="11"/>
                  </a:lnTo>
                  <a:lnTo>
                    <a:pt x="75" y="17"/>
                  </a:lnTo>
                  <a:lnTo>
                    <a:pt x="63" y="25"/>
                  </a:lnTo>
                  <a:lnTo>
                    <a:pt x="53" y="32"/>
                  </a:lnTo>
                  <a:lnTo>
                    <a:pt x="42" y="42"/>
                  </a:lnTo>
                  <a:lnTo>
                    <a:pt x="33" y="53"/>
                  </a:lnTo>
                  <a:lnTo>
                    <a:pt x="24" y="64"/>
                  </a:lnTo>
                  <a:lnTo>
                    <a:pt x="17" y="76"/>
                  </a:lnTo>
                  <a:lnTo>
                    <a:pt x="11" y="87"/>
                  </a:lnTo>
                  <a:lnTo>
                    <a:pt x="6" y="102"/>
                  </a:lnTo>
                  <a:lnTo>
                    <a:pt x="3" y="114"/>
                  </a:lnTo>
                  <a:lnTo>
                    <a:pt x="1" y="130"/>
                  </a:lnTo>
                  <a:lnTo>
                    <a:pt x="0" y="144"/>
                  </a:lnTo>
                  <a:lnTo>
                    <a:pt x="0" y="144"/>
                  </a:lnTo>
                  <a:lnTo>
                    <a:pt x="1" y="148"/>
                  </a:lnTo>
                  <a:lnTo>
                    <a:pt x="2" y="151"/>
                  </a:lnTo>
                  <a:lnTo>
                    <a:pt x="3" y="154"/>
                  </a:lnTo>
                  <a:lnTo>
                    <a:pt x="5" y="157"/>
                  </a:lnTo>
                  <a:lnTo>
                    <a:pt x="8" y="159"/>
                  </a:lnTo>
                  <a:lnTo>
                    <a:pt x="11" y="161"/>
                  </a:lnTo>
                  <a:lnTo>
                    <a:pt x="15" y="162"/>
                  </a:lnTo>
                  <a:lnTo>
                    <a:pt x="18" y="162"/>
                  </a:lnTo>
                  <a:lnTo>
                    <a:pt x="21" y="162"/>
                  </a:lnTo>
                  <a:lnTo>
                    <a:pt x="24" y="161"/>
                  </a:lnTo>
                  <a:lnTo>
                    <a:pt x="28" y="159"/>
                  </a:lnTo>
                  <a:lnTo>
                    <a:pt x="31" y="157"/>
                  </a:lnTo>
                  <a:lnTo>
                    <a:pt x="33" y="154"/>
                  </a:lnTo>
                  <a:lnTo>
                    <a:pt x="34" y="151"/>
                  </a:lnTo>
                  <a:lnTo>
                    <a:pt x="35" y="148"/>
                  </a:lnTo>
                  <a:lnTo>
                    <a:pt x="36" y="144"/>
                  </a:lnTo>
                  <a:lnTo>
                    <a:pt x="36" y="144"/>
                  </a:lnTo>
                  <a:lnTo>
                    <a:pt x="36" y="133"/>
                  </a:lnTo>
                  <a:lnTo>
                    <a:pt x="39" y="122"/>
                  </a:lnTo>
                  <a:lnTo>
                    <a:pt x="41" y="112"/>
                  </a:lnTo>
                  <a:lnTo>
                    <a:pt x="45" y="102"/>
                  </a:lnTo>
                  <a:lnTo>
                    <a:pt x="49" y="93"/>
                  </a:lnTo>
                  <a:lnTo>
                    <a:pt x="55" y="83"/>
                  </a:lnTo>
                  <a:lnTo>
                    <a:pt x="60" y="76"/>
                  </a:lnTo>
                  <a:lnTo>
                    <a:pt x="68" y="68"/>
                  </a:lnTo>
                  <a:lnTo>
                    <a:pt x="75" y="60"/>
                  </a:lnTo>
                  <a:lnTo>
                    <a:pt x="84" y="54"/>
                  </a:lnTo>
                  <a:lnTo>
                    <a:pt x="93" y="49"/>
                  </a:lnTo>
                  <a:lnTo>
                    <a:pt x="102" y="44"/>
                  </a:lnTo>
                  <a:lnTo>
                    <a:pt x="112" y="41"/>
                  </a:lnTo>
                  <a:lnTo>
                    <a:pt x="123" y="38"/>
                  </a:lnTo>
                  <a:lnTo>
                    <a:pt x="132" y="37"/>
                  </a:lnTo>
                  <a:lnTo>
                    <a:pt x="144" y="36"/>
                  </a:lnTo>
                  <a:lnTo>
                    <a:pt x="148" y="36"/>
                  </a:lnTo>
                  <a:lnTo>
                    <a:pt x="151" y="35"/>
                  </a:lnTo>
                  <a:lnTo>
                    <a:pt x="154" y="32"/>
                  </a:lnTo>
                  <a:lnTo>
                    <a:pt x="156" y="30"/>
                  </a:lnTo>
                  <a:lnTo>
                    <a:pt x="158" y="28"/>
                  </a:lnTo>
                  <a:lnTo>
                    <a:pt x="161" y="25"/>
                  </a:lnTo>
                  <a:lnTo>
                    <a:pt x="162" y="22"/>
                  </a:lnTo>
                  <a:lnTo>
                    <a:pt x="162" y="18"/>
                  </a:lnTo>
                  <a:lnTo>
                    <a:pt x="162" y="14"/>
                  </a:lnTo>
                  <a:lnTo>
                    <a:pt x="161" y="11"/>
                  </a:lnTo>
                  <a:lnTo>
                    <a:pt x="158" y="8"/>
                  </a:lnTo>
                  <a:lnTo>
                    <a:pt x="156" y="5"/>
                  </a:lnTo>
                  <a:lnTo>
                    <a:pt x="154" y="3"/>
                  </a:lnTo>
                  <a:lnTo>
                    <a:pt x="151" y="1"/>
                  </a:lnTo>
                  <a:lnTo>
                    <a:pt x="148" y="0"/>
                  </a:lnTo>
                  <a:lnTo>
                    <a:pt x="1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23"/>
            <p:cNvSpPr>
              <a:spLocks noEditPoints="1"/>
            </p:cNvSpPr>
            <p:nvPr/>
          </p:nvSpPr>
          <p:spPr bwMode="auto">
            <a:xfrm>
              <a:off x="5477668" y="2796778"/>
              <a:ext cx="457200" cy="385763"/>
            </a:xfrm>
            <a:custGeom>
              <a:avLst/>
              <a:gdLst>
                <a:gd name="T0" fmla="*/ 1077 w 1152"/>
                <a:gd name="T1" fmla="*/ 878 h 972"/>
                <a:gd name="T2" fmla="*/ 1065 w 1152"/>
                <a:gd name="T3" fmla="*/ 894 h 972"/>
                <a:gd name="T4" fmla="*/ 1044 w 1152"/>
                <a:gd name="T5" fmla="*/ 900 h 972"/>
                <a:gd name="T6" fmla="*/ 94 w 1152"/>
                <a:gd name="T7" fmla="*/ 897 h 972"/>
                <a:gd name="T8" fmla="*/ 78 w 1152"/>
                <a:gd name="T9" fmla="*/ 884 h 972"/>
                <a:gd name="T10" fmla="*/ 72 w 1152"/>
                <a:gd name="T11" fmla="*/ 864 h 972"/>
                <a:gd name="T12" fmla="*/ 74 w 1152"/>
                <a:gd name="T13" fmla="*/ 312 h 972"/>
                <a:gd name="T14" fmla="*/ 85 w 1152"/>
                <a:gd name="T15" fmla="*/ 297 h 972"/>
                <a:gd name="T16" fmla="*/ 102 w 1152"/>
                <a:gd name="T17" fmla="*/ 288 h 972"/>
                <a:gd name="T18" fmla="*/ 365 w 1152"/>
                <a:gd name="T19" fmla="*/ 89 h 972"/>
                <a:gd name="T20" fmla="*/ 375 w 1152"/>
                <a:gd name="T21" fmla="*/ 78 h 972"/>
                <a:gd name="T22" fmla="*/ 391 w 1152"/>
                <a:gd name="T23" fmla="*/ 72 h 972"/>
                <a:gd name="T24" fmla="*/ 761 w 1152"/>
                <a:gd name="T25" fmla="*/ 72 h 972"/>
                <a:gd name="T26" fmla="*/ 776 w 1152"/>
                <a:gd name="T27" fmla="*/ 78 h 972"/>
                <a:gd name="T28" fmla="*/ 787 w 1152"/>
                <a:gd name="T29" fmla="*/ 89 h 972"/>
                <a:gd name="T30" fmla="*/ 1049 w 1152"/>
                <a:gd name="T31" fmla="*/ 288 h 972"/>
                <a:gd name="T32" fmla="*/ 1067 w 1152"/>
                <a:gd name="T33" fmla="*/ 297 h 972"/>
                <a:gd name="T34" fmla="*/ 1077 w 1152"/>
                <a:gd name="T35" fmla="*/ 312 h 972"/>
                <a:gd name="T36" fmla="*/ 1080 w 1152"/>
                <a:gd name="T37" fmla="*/ 864 h 972"/>
                <a:gd name="T38" fmla="*/ 856 w 1152"/>
                <a:gd name="T39" fmla="*/ 68 h 972"/>
                <a:gd name="T40" fmla="*/ 844 w 1152"/>
                <a:gd name="T41" fmla="*/ 46 h 972"/>
                <a:gd name="T42" fmla="*/ 829 w 1152"/>
                <a:gd name="T43" fmla="*/ 28 h 972"/>
                <a:gd name="T44" fmla="*/ 810 w 1152"/>
                <a:gd name="T45" fmla="*/ 15 h 972"/>
                <a:gd name="T46" fmla="*/ 788 w 1152"/>
                <a:gd name="T47" fmla="*/ 5 h 972"/>
                <a:gd name="T48" fmla="*/ 764 w 1152"/>
                <a:gd name="T49" fmla="*/ 1 h 972"/>
                <a:gd name="T50" fmla="*/ 387 w 1152"/>
                <a:gd name="T51" fmla="*/ 1 h 972"/>
                <a:gd name="T52" fmla="*/ 364 w 1152"/>
                <a:gd name="T53" fmla="*/ 5 h 972"/>
                <a:gd name="T54" fmla="*/ 342 w 1152"/>
                <a:gd name="T55" fmla="*/ 15 h 972"/>
                <a:gd name="T56" fmla="*/ 323 w 1152"/>
                <a:gd name="T57" fmla="*/ 28 h 972"/>
                <a:gd name="T58" fmla="*/ 307 w 1152"/>
                <a:gd name="T59" fmla="*/ 46 h 972"/>
                <a:gd name="T60" fmla="*/ 296 w 1152"/>
                <a:gd name="T61" fmla="*/ 68 h 972"/>
                <a:gd name="T62" fmla="*/ 81 w 1152"/>
                <a:gd name="T63" fmla="*/ 220 h 972"/>
                <a:gd name="T64" fmla="*/ 54 w 1152"/>
                <a:gd name="T65" fmla="*/ 231 h 972"/>
                <a:gd name="T66" fmla="*/ 32 w 1152"/>
                <a:gd name="T67" fmla="*/ 247 h 972"/>
                <a:gd name="T68" fmla="*/ 15 w 1152"/>
                <a:gd name="T69" fmla="*/ 270 h 972"/>
                <a:gd name="T70" fmla="*/ 4 w 1152"/>
                <a:gd name="T71" fmla="*/ 296 h 972"/>
                <a:gd name="T72" fmla="*/ 0 w 1152"/>
                <a:gd name="T73" fmla="*/ 324 h 972"/>
                <a:gd name="T74" fmla="*/ 2 w 1152"/>
                <a:gd name="T75" fmla="*/ 885 h 972"/>
                <a:gd name="T76" fmla="*/ 13 w 1152"/>
                <a:gd name="T77" fmla="*/ 915 h 972"/>
                <a:gd name="T78" fmla="*/ 32 w 1152"/>
                <a:gd name="T79" fmla="*/ 940 h 972"/>
                <a:gd name="T80" fmla="*/ 57 w 1152"/>
                <a:gd name="T81" fmla="*/ 959 h 972"/>
                <a:gd name="T82" fmla="*/ 86 w 1152"/>
                <a:gd name="T83" fmla="*/ 969 h 972"/>
                <a:gd name="T84" fmla="*/ 1044 w 1152"/>
                <a:gd name="T85" fmla="*/ 972 h 972"/>
                <a:gd name="T86" fmla="*/ 1076 w 1152"/>
                <a:gd name="T87" fmla="*/ 967 h 972"/>
                <a:gd name="T88" fmla="*/ 1104 w 1152"/>
                <a:gd name="T89" fmla="*/ 953 h 972"/>
                <a:gd name="T90" fmla="*/ 1127 w 1152"/>
                <a:gd name="T91" fmla="*/ 933 h 972"/>
                <a:gd name="T92" fmla="*/ 1143 w 1152"/>
                <a:gd name="T93" fmla="*/ 906 h 972"/>
                <a:gd name="T94" fmla="*/ 1151 w 1152"/>
                <a:gd name="T95" fmla="*/ 874 h 972"/>
                <a:gd name="T96" fmla="*/ 1152 w 1152"/>
                <a:gd name="T97" fmla="*/ 314 h 972"/>
                <a:gd name="T98" fmla="*/ 1146 w 1152"/>
                <a:gd name="T99" fmla="*/ 286 h 972"/>
                <a:gd name="T100" fmla="*/ 1133 w 1152"/>
                <a:gd name="T101" fmla="*/ 261 h 972"/>
                <a:gd name="T102" fmla="*/ 1113 w 1152"/>
                <a:gd name="T103" fmla="*/ 240 h 972"/>
                <a:gd name="T104" fmla="*/ 1089 w 1152"/>
                <a:gd name="T105" fmla="*/ 226 h 972"/>
                <a:gd name="T106" fmla="*/ 1061 w 1152"/>
                <a:gd name="T107" fmla="*/ 21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2" h="972">
                  <a:moveTo>
                    <a:pt x="1080" y="864"/>
                  </a:moveTo>
                  <a:lnTo>
                    <a:pt x="1080" y="871"/>
                  </a:lnTo>
                  <a:lnTo>
                    <a:pt x="1077" y="878"/>
                  </a:lnTo>
                  <a:lnTo>
                    <a:pt x="1074" y="884"/>
                  </a:lnTo>
                  <a:lnTo>
                    <a:pt x="1070" y="890"/>
                  </a:lnTo>
                  <a:lnTo>
                    <a:pt x="1065" y="894"/>
                  </a:lnTo>
                  <a:lnTo>
                    <a:pt x="1058" y="897"/>
                  </a:lnTo>
                  <a:lnTo>
                    <a:pt x="1052" y="899"/>
                  </a:lnTo>
                  <a:lnTo>
                    <a:pt x="1044" y="900"/>
                  </a:lnTo>
                  <a:lnTo>
                    <a:pt x="108" y="900"/>
                  </a:lnTo>
                  <a:lnTo>
                    <a:pt x="101" y="899"/>
                  </a:lnTo>
                  <a:lnTo>
                    <a:pt x="94" y="897"/>
                  </a:lnTo>
                  <a:lnTo>
                    <a:pt x="88" y="894"/>
                  </a:lnTo>
                  <a:lnTo>
                    <a:pt x="83" y="890"/>
                  </a:lnTo>
                  <a:lnTo>
                    <a:pt x="78" y="884"/>
                  </a:lnTo>
                  <a:lnTo>
                    <a:pt x="75" y="878"/>
                  </a:lnTo>
                  <a:lnTo>
                    <a:pt x="73" y="871"/>
                  </a:lnTo>
                  <a:lnTo>
                    <a:pt x="72" y="864"/>
                  </a:lnTo>
                  <a:lnTo>
                    <a:pt x="72" y="324"/>
                  </a:lnTo>
                  <a:lnTo>
                    <a:pt x="73" y="317"/>
                  </a:lnTo>
                  <a:lnTo>
                    <a:pt x="74" y="312"/>
                  </a:lnTo>
                  <a:lnTo>
                    <a:pt x="77" y="305"/>
                  </a:lnTo>
                  <a:lnTo>
                    <a:pt x="81" y="301"/>
                  </a:lnTo>
                  <a:lnTo>
                    <a:pt x="85" y="297"/>
                  </a:lnTo>
                  <a:lnTo>
                    <a:pt x="90" y="292"/>
                  </a:lnTo>
                  <a:lnTo>
                    <a:pt x="96" y="290"/>
                  </a:lnTo>
                  <a:lnTo>
                    <a:pt x="102" y="288"/>
                  </a:lnTo>
                  <a:lnTo>
                    <a:pt x="298" y="256"/>
                  </a:lnTo>
                  <a:lnTo>
                    <a:pt x="362" y="95"/>
                  </a:lnTo>
                  <a:lnTo>
                    <a:pt x="365" y="89"/>
                  </a:lnTo>
                  <a:lnTo>
                    <a:pt x="368" y="85"/>
                  </a:lnTo>
                  <a:lnTo>
                    <a:pt x="371" y="82"/>
                  </a:lnTo>
                  <a:lnTo>
                    <a:pt x="375" y="78"/>
                  </a:lnTo>
                  <a:lnTo>
                    <a:pt x="381" y="75"/>
                  </a:lnTo>
                  <a:lnTo>
                    <a:pt x="385" y="73"/>
                  </a:lnTo>
                  <a:lnTo>
                    <a:pt x="391" y="72"/>
                  </a:lnTo>
                  <a:lnTo>
                    <a:pt x="396" y="72"/>
                  </a:lnTo>
                  <a:lnTo>
                    <a:pt x="756" y="72"/>
                  </a:lnTo>
                  <a:lnTo>
                    <a:pt x="761" y="72"/>
                  </a:lnTo>
                  <a:lnTo>
                    <a:pt x="766" y="73"/>
                  </a:lnTo>
                  <a:lnTo>
                    <a:pt x="772" y="75"/>
                  </a:lnTo>
                  <a:lnTo>
                    <a:pt x="776" y="78"/>
                  </a:lnTo>
                  <a:lnTo>
                    <a:pt x="780" y="82"/>
                  </a:lnTo>
                  <a:lnTo>
                    <a:pt x="784" y="85"/>
                  </a:lnTo>
                  <a:lnTo>
                    <a:pt x="787" y="89"/>
                  </a:lnTo>
                  <a:lnTo>
                    <a:pt x="789" y="95"/>
                  </a:lnTo>
                  <a:lnTo>
                    <a:pt x="854" y="256"/>
                  </a:lnTo>
                  <a:lnTo>
                    <a:pt x="1049" y="288"/>
                  </a:lnTo>
                  <a:lnTo>
                    <a:pt x="1056" y="290"/>
                  </a:lnTo>
                  <a:lnTo>
                    <a:pt x="1062" y="292"/>
                  </a:lnTo>
                  <a:lnTo>
                    <a:pt x="1067" y="297"/>
                  </a:lnTo>
                  <a:lnTo>
                    <a:pt x="1071" y="301"/>
                  </a:lnTo>
                  <a:lnTo>
                    <a:pt x="1075" y="305"/>
                  </a:lnTo>
                  <a:lnTo>
                    <a:pt x="1077" y="312"/>
                  </a:lnTo>
                  <a:lnTo>
                    <a:pt x="1080" y="317"/>
                  </a:lnTo>
                  <a:lnTo>
                    <a:pt x="1080" y="324"/>
                  </a:lnTo>
                  <a:lnTo>
                    <a:pt x="1080" y="864"/>
                  </a:lnTo>
                  <a:close/>
                  <a:moveTo>
                    <a:pt x="1061" y="218"/>
                  </a:moveTo>
                  <a:lnTo>
                    <a:pt x="906" y="192"/>
                  </a:lnTo>
                  <a:lnTo>
                    <a:pt x="856" y="68"/>
                  </a:lnTo>
                  <a:lnTo>
                    <a:pt x="853" y="60"/>
                  </a:lnTo>
                  <a:lnTo>
                    <a:pt x="849" y="53"/>
                  </a:lnTo>
                  <a:lnTo>
                    <a:pt x="844" y="46"/>
                  </a:lnTo>
                  <a:lnTo>
                    <a:pt x="840" y="40"/>
                  </a:lnTo>
                  <a:lnTo>
                    <a:pt x="834" y="34"/>
                  </a:lnTo>
                  <a:lnTo>
                    <a:pt x="829" y="28"/>
                  </a:lnTo>
                  <a:lnTo>
                    <a:pt x="823" y="23"/>
                  </a:lnTo>
                  <a:lnTo>
                    <a:pt x="816" y="18"/>
                  </a:lnTo>
                  <a:lnTo>
                    <a:pt x="810" y="15"/>
                  </a:lnTo>
                  <a:lnTo>
                    <a:pt x="803" y="10"/>
                  </a:lnTo>
                  <a:lnTo>
                    <a:pt x="796" y="7"/>
                  </a:lnTo>
                  <a:lnTo>
                    <a:pt x="788" y="5"/>
                  </a:lnTo>
                  <a:lnTo>
                    <a:pt x="780" y="3"/>
                  </a:lnTo>
                  <a:lnTo>
                    <a:pt x="772" y="1"/>
                  </a:lnTo>
                  <a:lnTo>
                    <a:pt x="764" y="1"/>
                  </a:lnTo>
                  <a:lnTo>
                    <a:pt x="756" y="0"/>
                  </a:lnTo>
                  <a:lnTo>
                    <a:pt x="396" y="0"/>
                  </a:lnTo>
                  <a:lnTo>
                    <a:pt x="387" y="1"/>
                  </a:lnTo>
                  <a:lnTo>
                    <a:pt x="380" y="1"/>
                  </a:lnTo>
                  <a:lnTo>
                    <a:pt x="372" y="3"/>
                  </a:lnTo>
                  <a:lnTo>
                    <a:pt x="364" y="5"/>
                  </a:lnTo>
                  <a:lnTo>
                    <a:pt x="356" y="7"/>
                  </a:lnTo>
                  <a:lnTo>
                    <a:pt x="350" y="10"/>
                  </a:lnTo>
                  <a:lnTo>
                    <a:pt x="342" y="15"/>
                  </a:lnTo>
                  <a:lnTo>
                    <a:pt x="335" y="18"/>
                  </a:lnTo>
                  <a:lnTo>
                    <a:pt x="329" y="23"/>
                  </a:lnTo>
                  <a:lnTo>
                    <a:pt x="323" y="28"/>
                  </a:lnTo>
                  <a:lnTo>
                    <a:pt x="317" y="34"/>
                  </a:lnTo>
                  <a:lnTo>
                    <a:pt x="312" y="40"/>
                  </a:lnTo>
                  <a:lnTo>
                    <a:pt x="307" y="46"/>
                  </a:lnTo>
                  <a:lnTo>
                    <a:pt x="303" y="53"/>
                  </a:lnTo>
                  <a:lnTo>
                    <a:pt x="299" y="60"/>
                  </a:lnTo>
                  <a:lnTo>
                    <a:pt x="296" y="68"/>
                  </a:lnTo>
                  <a:lnTo>
                    <a:pt x="246" y="192"/>
                  </a:lnTo>
                  <a:lnTo>
                    <a:pt x="90" y="218"/>
                  </a:lnTo>
                  <a:lnTo>
                    <a:pt x="81" y="220"/>
                  </a:lnTo>
                  <a:lnTo>
                    <a:pt x="71" y="222"/>
                  </a:lnTo>
                  <a:lnTo>
                    <a:pt x="62" y="226"/>
                  </a:lnTo>
                  <a:lnTo>
                    <a:pt x="54" y="231"/>
                  </a:lnTo>
                  <a:lnTo>
                    <a:pt x="46" y="235"/>
                  </a:lnTo>
                  <a:lnTo>
                    <a:pt x="38" y="240"/>
                  </a:lnTo>
                  <a:lnTo>
                    <a:pt x="32" y="247"/>
                  </a:lnTo>
                  <a:lnTo>
                    <a:pt x="26" y="255"/>
                  </a:lnTo>
                  <a:lnTo>
                    <a:pt x="20" y="261"/>
                  </a:lnTo>
                  <a:lnTo>
                    <a:pt x="15" y="270"/>
                  </a:lnTo>
                  <a:lnTo>
                    <a:pt x="10" y="277"/>
                  </a:lnTo>
                  <a:lnTo>
                    <a:pt x="7" y="286"/>
                  </a:lnTo>
                  <a:lnTo>
                    <a:pt x="4" y="296"/>
                  </a:lnTo>
                  <a:lnTo>
                    <a:pt x="2" y="304"/>
                  </a:lnTo>
                  <a:lnTo>
                    <a:pt x="1" y="314"/>
                  </a:lnTo>
                  <a:lnTo>
                    <a:pt x="0" y="324"/>
                  </a:lnTo>
                  <a:lnTo>
                    <a:pt x="0" y="864"/>
                  </a:lnTo>
                  <a:lnTo>
                    <a:pt x="1" y="874"/>
                  </a:lnTo>
                  <a:lnTo>
                    <a:pt x="2" y="885"/>
                  </a:lnTo>
                  <a:lnTo>
                    <a:pt x="5" y="896"/>
                  </a:lnTo>
                  <a:lnTo>
                    <a:pt x="8" y="906"/>
                  </a:lnTo>
                  <a:lnTo>
                    <a:pt x="13" y="915"/>
                  </a:lnTo>
                  <a:lnTo>
                    <a:pt x="18" y="924"/>
                  </a:lnTo>
                  <a:lnTo>
                    <a:pt x="24" y="933"/>
                  </a:lnTo>
                  <a:lnTo>
                    <a:pt x="32" y="940"/>
                  </a:lnTo>
                  <a:lnTo>
                    <a:pt x="40" y="947"/>
                  </a:lnTo>
                  <a:lnTo>
                    <a:pt x="47" y="953"/>
                  </a:lnTo>
                  <a:lnTo>
                    <a:pt x="57" y="959"/>
                  </a:lnTo>
                  <a:lnTo>
                    <a:pt x="65" y="963"/>
                  </a:lnTo>
                  <a:lnTo>
                    <a:pt x="76" y="967"/>
                  </a:lnTo>
                  <a:lnTo>
                    <a:pt x="86" y="969"/>
                  </a:lnTo>
                  <a:lnTo>
                    <a:pt x="97" y="972"/>
                  </a:lnTo>
                  <a:lnTo>
                    <a:pt x="108" y="972"/>
                  </a:lnTo>
                  <a:lnTo>
                    <a:pt x="1044" y="972"/>
                  </a:lnTo>
                  <a:lnTo>
                    <a:pt x="1055" y="972"/>
                  </a:lnTo>
                  <a:lnTo>
                    <a:pt x="1066" y="969"/>
                  </a:lnTo>
                  <a:lnTo>
                    <a:pt x="1076" y="967"/>
                  </a:lnTo>
                  <a:lnTo>
                    <a:pt x="1086" y="963"/>
                  </a:lnTo>
                  <a:lnTo>
                    <a:pt x="1096" y="959"/>
                  </a:lnTo>
                  <a:lnTo>
                    <a:pt x="1104" y="953"/>
                  </a:lnTo>
                  <a:lnTo>
                    <a:pt x="1113" y="947"/>
                  </a:lnTo>
                  <a:lnTo>
                    <a:pt x="1121" y="940"/>
                  </a:lnTo>
                  <a:lnTo>
                    <a:pt x="1127" y="933"/>
                  </a:lnTo>
                  <a:lnTo>
                    <a:pt x="1134" y="924"/>
                  </a:lnTo>
                  <a:lnTo>
                    <a:pt x="1139" y="915"/>
                  </a:lnTo>
                  <a:lnTo>
                    <a:pt x="1143" y="906"/>
                  </a:lnTo>
                  <a:lnTo>
                    <a:pt x="1147" y="896"/>
                  </a:lnTo>
                  <a:lnTo>
                    <a:pt x="1150" y="885"/>
                  </a:lnTo>
                  <a:lnTo>
                    <a:pt x="1151" y="874"/>
                  </a:lnTo>
                  <a:lnTo>
                    <a:pt x="1152" y="864"/>
                  </a:lnTo>
                  <a:lnTo>
                    <a:pt x="1152" y="324"/>
                  </a:lnTo>
                  <a:lnTo>
                    <a:pt x="1152" y="314"/>
                  </a:lnTo>
                  <a:lnTo>
                    <a:pt x="1150" y="304"/>
                  </a:lnTo>
                  <a:lnTo>
                    <a:pt x="1148" y="296"/>
                  </a:lnTo>
                  <a:lnTo>
                    <a:pt x="1146" y="286"/>
                  </a:lnTo>
                  <a:lnTo>
                    <a:pt x="1141" y="277"/>
                  </a:lnTo>
                  <a:lnTo>
                    <a:pt x="1137" y="270"/>
                  </a:lnTo>
                  <a:lnTo>
                    <a:pt x="1133" y="261"/>
                  </a:lnTo>
                  <a:lnTo>
                    <a:pt x="1126" y="255"/>
                  </a:lnTo>
                  <a:lnTo>
                    <a:pt x="1121" y="247"/>
                  </a:lnTo>
                  <a:lnTo>
                    <a:pt x="1113" y="240"/>
                  </a:lnTo>
                  <a:lnTo>
                    <a:pt x="1106" y="235"/>
                  </a:lnTo>
                  <a:lnTo>
                    <a:pt x="1098" y="231"/>
                  </a:lnTo>
                  <a:lnTo>
                    <a:pt x="1089" y="226"/>
                  </a:lnTo>
                  <a:lnTo>
                    <a:pt x="1081" y="222"/>
                  </a:lnTo>
                  <a:lnTo>
                    <a:pt x="1071" y="220"/>
                  </a:lnTo>
                  <a:lnTo>
                    <a:pt x="1061"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p:cNvGrpSpPr/>
          <p:nvPr/>
        </p:nvGrpSpPr>
        <p:grpSpPr>
          <a:xfrm>
            <a:off x="1738534" y="5309519"/>
            <a:ext cx="343503" cy="343501"/>
            <a:chOff x="4563268" y="1839515"/>
            <a:chExt cx="457201" cy="457200"/>
          </a:xfrm>
          <a:solidFill>
            <a:schemeClr val="tx1">
              <a:lumMod val="75000"/>
              <a:lumOff val="25000"/>
            </a:schemeClr>
          </a:solidFill>
        </p:grpSpPr>
        <p:sp>
          <p:nvSpPr>
            <p:cNvPr id="95" name="Freeform 137"/>
            <p:cNvSpPr>
              <a:spLocks/>
            </p:cNvSpPr>
            <p:nvPr/>
          </p:nvSpPr>
          <p:spPr bwMode="auto">
            <a:xfrm>
              <a:off x="4812506" y="1896665"/>
              <a:ext cx="150813" cy="149225"/>
            </a:xfrm>
            <a:custGeom>
              <a:avLst/>
              <a:gdLst>
                <a:gd name="T0" fmla="*/ 342 w 378"/>
                <a:gd name="T1" fmla="*/ 360 h 378"/>
                <a:gd name="T2" fmla="*/ 343 w 378"/>
                <a:gd name="T3" fmla="*/ 367 h 378"/>
                <a:gd name="T4" fmla="*/ 347 w 378"/>
                <a:gd name="T5" fmla="*/ 372 h 378"/>
                <a:gd name="T6" fmla="*/ 353 w 378"/>
                <a:gd name="T7" fmla="*/ 377 h 378"/>
                <a:gd name="T8" fmla="*/ 360 w 378"/>
                <a:gd name="T9" fmla="*/ 378 h 378"/>
                <a:gd name="T10" fmla="*/ 367 w 378"/>
                <a:gd name="T11" fmla="*/ 377 h 378"/>
                <a:gd name="T12" fmla="*/ 373 w 378"/>
                <a:gd name="T13" fmla="*/ 372 h 378"/>
                <a:gd name="T14" fmla="*/ 376 w 378"/>
                <a:gd name="T15" fmla="*/ 367 h 378"/>
                <a:gd name="T16" fmla="*/ 378 w 378"/>
                <a:gd name="T17" fmla="*/ 360 h 378"/>
                <a:gd name="T18" fmla="*/ 378 w 378"/>
                <a:gd name="T19" fmla="*/ 359 h 378"/>
                <a:gd name="T20" fmla="*/ 376 w 378"/>
                <a:gd name="T21" fmla="*/ 323 h 378"/>
                <a:gd name="T22" fmla="*/ 371 w 378"/>
                <a:gd name="T23" fmla="*/ 287 h 378"/>
                <a:gd name="T24" fmla="*/ 361 w 378"/>
                <a:gd name="T25" fmla="*/ 253 h 378"/>
                <a:gd name="T26" fmla="*/ 349 w 378"/>
                <a:gd name="T27" fmla="*/ 220 h 378"/>
                <a:gd name="T28" fmla="*/ 334 w 378"/>
                <a:gd name="T29" fmla="*/ 189 h 378"/>
                <a:gd name="T30" fmla="*/ 316 w 378"/>
                <a:gd name="T31" fmla="*/ 158 h 378"/>
                <a:gd name="T32" fmla="*/ 295 w 378"/>
                <a:gd name="T33" fmla="*/ 131 h 378"/>
                <a:gd name="T34" fmla="*/ 273 w 378"/>
                <a:gd name="T35" fmla="*/ 105 h 378"/>
                <a:gd name="T36" fmla="*/ 247 w 378"/>
                <a:gd name="T37" fmla="*/ 83 h 378"/>
                <a:gd name="T38" fmla="*/ 220 w 378"/>
                <a:gd name="T39" fmla="*/ 62 h 378"/>
                <a:gd name="T40" fmla="*/ 190 w 378"/>
                <a:gd name="T41" fmla="*/ 44 h 378"/>
                <a:gd name="T42" fmla="*/ 158 w 378"/>
                <a:gd name="T43" fmla="*/ 29 h 378"/>
                <a:gd name="T44" fmla="*/ 126 w 378"/>
                <a:gd name="T45" fmla="*/ 17 h 378"/>
                <a:gd name="T46" fmla="*/ 91 w 378"/>
                <a:gd name="T47" fmla="*/ 7 h 378"/>
                <a:gd name="T48" fmla="*/ 56 w 378"/>
                <a:gd name="T49" fmla="*/ 2 h 378"/>
                <a:gd name="T50" fmla="*/ 19 w 378"/>
                <a:gd name="T51" fmla="*/ 1 h 378"/>
                <a:gd name="T52" fmla="*/ 18 w 378"/>
                <a:gd name="T53" fmla="*/ 0 h 378"/>
                <a:gd name="T54" fmla="*/ 11 w 378"/>
                <a:gd name="T55" fmla="*/ 2 h 378"/>
                <a:gd name="T56" fmla="*/ 5 w 378"/>
                <a:gd name="T57" fmla="*/ 5 h 378"/>
                <a:gd name="T58" fmla="*/ 2 w 378"/>
                <a:gd name="T59" fmla="*/ 12 h 378"/>
                <a:gd name="T60" fmla="*/ 0 w 378"/>
                <a:gd name="T61" fmla="*/ 18 h 378"/>
                <a:gd name="T62" fmla="*/ 2 w 378"/>
                <a:gd name="T63" fmla="*/ 24 h 378"/>
                <a:gd name="T64" fmla="*/ 5 w 378"/>
                <a:gd name="T65" fmla="*/ 31 h 378"/>
                <a:gd name="T66" fmla="*/ 11 w 378"/>
                <a:gd name="T67" fmla="*/ 34 h 378"/>
                <a:gd name="T68" fmla="*/ 18 w 378"/>
                <a:gd name="T69" fmla="*/ 36 h 378"/>
                <a:gd name="T70" fmla="*/ 34 w 378"/>
                <a:gd name="T71" fmla="*/ 36 h 378"/>
                <a:gd name="T72" fmla="*/ 68 w 378"/>
                <a:gd name="T73" fmla="*/ 40 h 378"/>
                <a:gd name="T74" fmla="*/ 99 w 378"/>
                <a:gd name="T75" fmla="*/ 46 h 378"/>
                <a:gd name="T76" fmla="*/ 129 w 378"/>
                <a:gd name="T77" fmla="*/ 56 h 378"/>
                <a:gd name="T78" fmla="*/ 158 w 378"/>
                <a:gd name="T79" fmla="*/ 68 h 378"/>
                <a:gd name="T80" fmla="*/ 185 w 378"/>
                <a:gd name="T81" fmla="*/ 83 h 378"/>
                <a:gd name="T82" fmla="*/ 211 w 378"/>
                <a:gd name="T83" fmla="*/ 100 h 378"/>
                <a:gd name="T84" fmla="*/ 236 w 378"/>
                <a:gd name="T85" fmla="*/ 121 h 378"/>
                <a:gd name="T86" fmla="*/ 258 w 378"/>
                <a:gd name="T87" fmla="*/ 142 h 378"/>
                <a:gd name="T88" fmla="*/ 277 w 378"/>
                <a:gd name="T89" fmla="*/ 166 h 378"/>
                <a:gd name="T90" fmla="*/ 295 w 378"/>
                <a:gd name="T91" fmla="*/ 192 h 378"/>
                <a:gd name="T92" fmla="*/ 310 w 378"/>
                <a:gd name="T93" fmla="*/ 220 h 378"/>
                <a:gd name="T94" fmla="*/ 322 w 378"/>
                <a:gd name="T95" fmla="*/ 249 h 378"/>
                <a:gd name="T96" fmla="*/ 332 w 378"/>
                <a:gd name="T97" fmla="*/ 279 h 378"/>
                <a:gd name="T98" fmla="*/ 339 w 378"/>
                <a:gd name="T99" fmla="*/ 311 h 378"/>
                <a:gd name="T100" fmla="*/ 342 w 378"/>
                <a:gd name="T101" fmla="*/ 343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8" h="378">
                  <a:moveTo>
                    <a:pt x="342" y="360"/>
                  </a:moveTo>
                  <a:lnTo>
                    <a:pt x="342" y="360"/>
                  </a:lnTo>
                  <a:lnTo>
                    <a:pt x="342" y="364"/>
                  </a:lnTo>
                  <a:lnTo>
                    <a:pt x="343" y="367"/>
                  </a:lnTo>
                  <a:lnTo>
                    <a:pt x="345" y="370"/>
                  </a:lnTo>
                  <a:lnTo>
                    <a:pt x="347" y="372"/>
                  </a:lnTo>
                  <a:lnTo>
                    <a:pt x="349" y="375"/>
                  </a:lnTo>
                  <a:lnTo>
                    <a:pt x="353" y="377"/>
                  </a:lnTo>
                  <a:lnTo>
                    <a:pt x="356" y="378"/>
                  </a:lnTo>
                  <a:lnTo>
                    <a:pt x="360" y="378"/>
                  </a:lnTo>
                  <a:lnTo>
                    <a:pt x="364" y="378"/>
                  </a:lnTo>
                  <a:lnTo>
                    <a:pt x="367" y="377"/>
                  </a:lnTo>
                  <a:lnTo>
                    <a:pt x="370" y="374"/>
                  </a:lnTo>
                  <a:lnTo>
                    <a:pt x="373" y="372"/>
                  </a:lnTo>
                  <a:lnTo>
                    <a:pt x="375" y="370"/>
                  </a:lnTo>
                  <a:lnTo>
                    <a:pt x="376" y="367"/>
                  </a:lnTo>
                  <a:lnTo>
                    <a:pt x="378" y="364"/>
                  </a:lnTo>
                  <a:lnTo>
                    <a:pt x="378" y="360"/>
                  </a:lnTo>
                  <a:lnTo>
                    <a:pt x="378" y="360"/>
                  </a:lnTo>
                  <a:lnTo>
                    <a:pt x="378" y="359"/>
                  </a:lnTo>
                  <a:lnTo>
                    <a:pt x="378" y="341"/>
                  </a:lnTo>
                  <a:lnTo>
                    <a:pt x="376" y="323"/>
                  </a:lnTo>
                  <a:lnTo>
                    <a:pt x="373" y="305"/>
                  </a:lnTo>
                  <a:lnTo>
                    <a:pt x="371" y="287"/>
                  </a:lnTo>
                  <a:lnTo>
                    <a:pt x="367" y="270"/>
                  </a:lnTo>
                  <a:lnTo>
                    <a:pt x="361" y="253"/>
                  </a:lnTo>
                  <a:lnTo>
                    <a:pt x="356" y="236"/>
                  </a:lnTo>
                  <a:lnTo>
                    <a:pt x="349" y="220"/>
                  </a:lnTo>
                  <a:lnTo>
                    <a:pt x="342" y="204"/>
                  </a:lnTo>
                  <a:lnTo>
                    <a:pt x="334" y="189"/>
                  </a:lnTo>
                  <a:lnTo>
                    <a:pt x="326" y="174"/>
                  </a:lnTo>
                  <a:lnTo>
                    <a:pt x="316" y="158"/>
                  </a:lnTo>
                  <a:lnTo>
                    <a:pt x="306" y="144"/>
                  </a:lnTo>
                  <a:lnTo>
                    <a:pt x="295" y="131"/>
                  </a:lnTo>
                  <a:lnTo>
                    <a:pt x="285" y="118"/>
                  </a:lnTo>
                  <a:lnTo>
                    <a:pt x="273" y="105"/>
                  </a:lnTo>
                  <a:lnTo>
                    <a:pt x="260" y="94"/>
                  </a:lnTo>
                  <a:lnTo>
                    <a:pt x="247" y="83"/>
                  </a:lnTo>
                  <a:lnTo>
                    <a:pt x="234" y="72"/>
                  </a:lnTo>
                  <a:lnTo>
                    <a:pt x="220" y="62"/>
                  </a:lnTo>
                  <a:lnTo>
                    <a:pt x="205" y="53"/>
                  </a:lnTo>
                  <a:lnTo>
                    <a:pt x="190" y="44"/>
                  </a:lnTo>
                  <a:lnTo>
                    <a:pt x="175" y="36"/>
                  </a:lnTo>
                  <a:lnTo>
                    <a:pt x="158" y="29"/>
                  </a:lnTo>
                  <a:lnTo>
                    <a:pt x="142" y="22"/>
                  </a:lnTo>
                  <a:lnTo>
                    <a:pt x="126" y="17"/>
                  </a:lnTo>
                  <a:lnTo>
                    <a:pt x="109" y="12"/>
                  </a:lnTo>
                  <a:lnTo>
                    <a:pt x="91" y="7"/>
                  </a:lnTo>
                  <a:lnTo>
                    <a:pt x="74" y="4"/>
                  </a:lnTo>
                  <a:lnTo>
                    <a:pt x="56" y="2"/>
                  </a:lnTo>
                  <a:lnTo>
                    <a:pt x="37" y="1"/>
                  </a:lnTo>
                  <a:lnTo>
                    <a:pt x="19" y="1"/>
                  </a:lnTo>
                  <a:lnTo>
                    <a:pt x="19" y="0"/>
                  </a:lnTo>
                  <a:lnTo>
                    <a:pt x="18" y="0"/>
                  </a:lnTo>
                  <a:lnTo>
                    <a:pt x="15" y="1"/>
                  </a:lnTo>
                  <a:lnTo>
                    <a:pt x="11" y="2"/>
                  </a:lnTo>
                  <a:lnTo>
                    <a:pt x="8" y="3"/>
                  </a:lnTo>
                  <a:lnTo>
                    <a:pt x="5" y="5"/>
                  </a:lnTo>
                  <a:lnTo>
                    <a:pt x="3" y="8"/>
                  </a:lnTo>
                  <a:lnTo>
                    <a:pt x="2" y="12"/>
                  </a:lnTo>
                  <a:lnTo>
                    <a:pt x="1" y="15"/>
                  </a:lnTo>
                  <a:lnTo>
                    <a:pt x="0" y="18"/>
                  </a:lnTo>
                  <a:lnTo>
                    <a:pt x="1" y="21"/>
                  </a:lnTo>
                  <a:lnTo>
                    <a:pt x="2" y="24"/>
                  </a:lnTo>
                  <a:lnTo>
                    <a:pt x="3" y="28"/>
                  </a:lnTo>
                  <a:lnTo>
                    <a:pt x="5" y="31"/>
                  </a:lnTo>
                  <a:lnTo>
                    <a:pt x="8" y="33"/>
                  </a:lnTo>
                  <a:lnTo>
                    <a:pt x="11" y="34"/>
                  </a:lnTo>
                  <a:lnTo>
                    <a:pt x="15" y="35"/>
                  </a:lnTo>
                  <a:lnTo>
                    <a:pt x="18" y="36"/>
                  </a:lnTo>
                  <a:lnTo>
                    <a:pt x="18" y="36"/>
                  </a:lnTo>
                  <a:lnTo>
                    <a:pt x="34" y="36"/>
                  </a:lnTo>
                  <a:lnTo>
                    <a:pt x="51" y="37"/>
                  </a:lnTo>
                  <a:lnTo>
                    <a:pt x="68" y="40"/>
                  </a:lnTo>
                  <a:lnTo>
                    <a:pt x="83" y="43"/>
                  </a:lnTo>
                  <a:lnTo>
                    <a:pt x="99" y="46"/>
                  </a:lnTo>
                  <a:lnTo>
                    <a:pt x="114" y="50"/>
                  </a:lnTo>
                  <a:lnTo>
                    <a:pt x="129" y="56"/>
                  </a:lnTo>
                  <a:lnTo>
                    <a:pt x="144" y="61"/>
                  </a:lnTo>
                  <a:lnTo>
                    <a:pt x="158" y="68"/>
                  </a:lnTo>
                  <a:lnTo>
                    <a:pt x="172" y="75"/>
                  </a:lnTo>
                  <a:lnTo>
                    <a:pt x="185" y="83"/>
                  </a:lnTo>
                  <a:lnTo>
                    <a:pt x="199" y="91"/>
                  </a:lnTo>
                  <a:lnTo>
                    <a:pt x="211" y="100"/>
                  </a:lnTo>
                  <a:lnTo>
                    <a:pt x="224" y="110"/>
                  </a:lnTo>
                  <a:lnTo>
                    <a:pt x="236" y="121"/>
                  </a:lnTo>
                  <a:lnTo>
                    <a:pt x="247" y="131"/>
                  </a:lnTo>
                  <a:lnTo>
                    <a:pt x="258" y="142"/>
                  </a:lnTo>
                  <a:lnTo>
                    <a:pt x="267" y="154"/>
                  </a:lnTo>
                  <a:lnTo>
                    <a:pt x="277" y="166"/>
                  </a:lnTo>
                  <a:lnTo>
                    <a:pt x="287" y="179"/>
                  </a:lnTo>
                  <a:lnTo>
                    <a:pt x="295" y="192"/>
                  </a:lnTo>
                  <a:lnTo>
                    <a:pt x="303" y="206"/>
                  </a:lnTo>
                  <a:lnTo>
                    <a:pt x="310" y="220"/>
                  </a:lnTo>
                  <a:lnTo>
                    <a:pt x="316" y="234"/>
                  </a:lnTo>
                  <a:lnTo>
                    <a:pt x="322" y="249"/>
                  </a:lnTo>
                  <a:lnTo>
                    <a:pt x="328" y="264"/>
                  </a:lnTo>
                  <a:lnTo>
                    <a:pt x="332" y="279"/>
                  </a:lnTo>
                  <a:lnTo>
                    <a:pt x="335" y="294"/>
                  </a:lnTo>
                  <a:lnTo>
                    <a:pt x="339" y="311"/>
                  </a:lnTo>
                  <a:lnTo>
                    <a:pt x="340" y="327"/>
                  </a:lnTo>
                  <a:lnTo>
                    <a:pt x="342" y="343"/>
                  </a:lnTo>
                  <a:lnTo>
                    <a:pt x="342"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38"/>
            <p:cNvSpPr>
              <a:spLocks noEditPoints="1"/>
            </p:cNvSpPr>
            <p:nvPr/>
          </p:nvSpPr>
          <p:spPr bwMode="auto">
            <a:xfrm>
              <a:off x="4563268" y="1839515"/>
              <a:ext cx="457200" cy="457200"/>
            </a:xfrm>
            <a:custGeom>
              <a:avLst/>
              <a:gdLst>
                <a:gd name="T0" fmla="*/ 1071 w 1152"/>
                <a:gd name="T1" fmla="*/ 923 h 1152"/>
                <a:gd name="T2" fmla="*/ 1059 w 1152"/>
                <a:gd name="T3" fmla="*/ 932 h 1152"/>
                <a:gd name="T4" fmla="*/ 1044 w 1152"/>
                <a:gd name="T5" fmla="*/ 936 h 1152"/>
                <a:gd name="T6" fmla="*/ 216 w 1152"/>
                <a:gd name="T7" fmla="*/ 108 h 1152"/>
                <a:gd name="T8" fmla="*/ 219 w 1152"/>
                <a:gd name="T9" fmla="*/ 93 h 1152"/>
                <a:gd name="T10" fmla="*/ 229 w 1152"/>
                <a:gd name="T11" fmla="*/ 80 h 1152"/>
                <a:gd name="T12" fmla="*/ 245 w 1152"/>
                <a:gd name="T13" fmla="*/ 72 h 1152"/>
                <a:gd name="T14" fmla="*/ 266 w 1152"/>
                <a:gd name="T15" fmla="*/ 75 h 1152"/>
                <a:gd name="T16" fmla="*/ 1069 w 1152"/>
                <a:gd name="T17" fmla="*/ 875 h 1152"/>
                <a:gd name="T18" fmla="*/ 1078 w 1152"/>
                <a:gd name="T19" fmla="*/ 888 h 1152"/>
                <a:gd name="T20" fmla="*/ 1080 w 1152"/>
                <a:gd name="T21" fmla="*/ 903 h 1152"/>
                <a:gd name="T22" fmla="*/ 1077 w 1152"/>
                <a:gd name="T23" fmla="*/ 914 h 1152"/>
                <a:gd name="T24" fmla="*/ 532 w 1152"/>
                <a:gd name="T25" fmla="*/ 940 h 1152"/>
                <a:gd name="T26" fmla="*/ 216 w 1152"/>
                <a:gd name="T27" fmla="*/ 604 h 1152"/>
                <a:gd name="T28" fmla="*/ 549 w 1152"/>
                <a:gd name="T29" fmla="*/ 936 h 1152"/>
                <a:gd name="T30" fmla="*/ 378 w 1152"/>
                <a:gd name="T31" fmla="*/ 1075 h 1152"/>
                <a:gd name="T32" fmla="*/ 360 w 1152"/>
                <a:gd name="T33" fmla="*/ 1080 h 1152"/>
                <a:gd name="T34" fmla="*/ 341 w 1152"/>
                <a:gd name="T35" fmla="*/ 1075 h 1152"/>
                <a:gd name="T36" fmla="*/ 77 w 1152"/>
                <a:gd name="T37" fmla="*/ 810 h 1152"/>
                <a:gd name="T38" fmla="*/ 72 w 1152"/>
                <a:gd name="T39" fmla="*/ 792 h 1152"/>
                <a:gd name="T40" fmla="*/ 77 w 1152"/>
                <a:gd name="T41" fmla="*/ 773 h 1152"/>
                <a:gd name="T42" fmla="*/ 195 w 1152"/>
                <a:gd name="T43" fmla="*/ 653 h 1152"/>
                <a:gd name="T44" fmla="*/ 499 w 1152"/>
                <a:gd name="T45" fmla="*/ 957 h 1152"/>
                <a:gd name="T46" fmla="*/ 328 w 1152"/>
                <a:gd name="T47" fmla="*/ 31 h 1152"/>
                <a:gd name="T48" fmla="*/ 302 w 1152"/>
                <a:gd name="T49" fmla="*/ 13 h 1152"/>
                <a:gd name="T50" fmla="*/ 273 w 1152"/>
                <a:gd name="T51" fmla="*/ 2 h 1152"/>
                <a:gd name="T52" fmla="*/ 242 w 1152"/>
                <a:gd name="T53" fmla="*/ 0 h 1152"/>
                <a:gd name="T54" fmla="*/ 211 w 1152"/>
                <a:gd name="T55" fmla="*/ 9 h 1152"/>
                <a:gd name="T56" fmla="*/ 190 w 1152"/>
                <a:gd name="T57" fmla="*/ 19 h 1152"/>
                <a:gd name="T58" fmla="*/ 172 w 1152"/>
                <a:gd name="T59" fmla="*/ 36 h 1152"/>
                <a:gd name="T60" fmla="*/ 158 w 1152"/>
                <a:gd name="T61" fmla="*/ 55 h 1152"/>
                <a:gd name="T62" fmla="*/ 149 w 1152"/>
                <a:gd name="T63" fmla="*/ 77 h 1152"/>
                <a:gd name="T64" fmla="*/ 145 w 1152"/>
                <a:gd name="T65" fmla="*/ 99 h 1152"/>
                <a:gd name="T66" fmla="*/ 31 w 1152"/>
                <a:gd name="T67" fmla="*/ 716 h 1152"/>
                <a:gd name="T68" fmla="*/ 13 w 1152"/>
                <a:gd name="T69" fmla="*/ 742 h 1152"/>
                <a:gd name="T70" fmla="*/ 2 w 1152"/>
                <a:gd name="T71" fmla="*/ 771 h 1152"/>
                <a:gd name="T72" fmla="*/ 1 w 1152"/>
                <a:gd name="T73" fmla="*/ 802 h 1152"/>
                <a:gd name="T74" fmla="*/ 7 w 1152"/>
                <a:gd name="T75" fmla="*/ 833 h 1152"/>
                <a:gd name="T76" fmla="*/ 25 w 1152"/>
                <a:gd name="T77" fmla="*/ 860 h 1152"/>
                <a:gd name="T78" fmla="*/ 292 w 1152"/>
                <a:gd name="T79" fmla="*/ 1128 h 1152"/>
                <a:gd name="T80" fmla="*/ 320 w 1152"/>
                <a:gd name="T81" fmla="*/ 1144 h 1152"/>
                <a:gd name="T82" fmla="*/ 350 w 1152"/>
                <a:gd name="T83" fmla="*/ 1151 h 1152"/>
                <a:gd name="T84" fmla="*/ 381 w 1152"/>
                <a:gd name="T85" fmla="*/ 1150 h 1152"/>
                <a:gd name="T86" fmla="*/ 410 w 1152"/>
                <a:gd name="T87" fmla="*/ 1139 h 1152"/>
                <a:gd name="T88" fmla="*/ 436 w 1152"/>
                <a:gd name="T89" fmla="*/ 1120 h 1152"/>
                <a:gd name="T90" fmla="*/ 1052 w 1152"/>
                <a:gd name="T91" fmla="*/ 1008 h 1152"/>
                <a:gd name="T92" fmla="*/ 1076 w 1152"/>
                <a:gd name="T93" fmla="*/ 1003 h 1152"/>
                <a:gd name="T94" fmla="*/ 1097 w 1152"/>
                <a:gd name="T95" fmla="*/ 994 h 1152"/>
                <a:gd name="T96" fmla="*/ 1117 w 1152"/>
                <a:gd name="T97" fmla="*/ 981 h 1152"/>
                <a:gd name="T98" fmla="*/ 1132 w 1152"/>
                <a:gd name="T99" fmla="*/ 962 h 1152"/>
                <a:gd name="T100" fmla="*/ 1144 w 1152"/>
                <a:gd name="T101" fmla="*/ 942 h 1152"/>
                <a:gd name="T102" fmla="*/ 1150 w 1152"/>
                <a:gd name="T103" fmla="*/ 918 h 1152"/>
                <a:gd name="T104" fmla="*/ 1152 w 1152"/>
                <a:gd name="T105" fmla="*/ 894 h 1152"/>
                <a:gd name="T106" fmla="*/ 1148 w 1152"/>
                <a:gd name="T107" fmla="*/ 872 h 1152"/>
                <a:gd name="T108" fmla="*/ 1139 w 1152"/>
                <a:gd name="T109" fmla="*/ 849 h 1152"/>
                <a:gd name="T110" fmla="*/ 1126 w 1152"/>
                <a:gd name="T111" fmla="*/ 82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2" h="1152">
                  <a:moveTo>
                    <a:pt x="1077" y="914"/>
                  </a:moveTo>
                  <a:lnTo>
                    <a:pt x="1075" y="919"/>
                  </a:lnTo>
                  <a:lnTo>
                    <a:pt x="1071" y="923"/>
                  </a:lnTo>
                  <a:lnTo>
                    <a:pt x="1068" y="927"/>
                  </a:lnTo>
                  <a:lnTo>
                    <a:pt x="1064" y="930"/>
                  </a:lnTo>
                  <a:lnTo>
                    <a:pt x="1059" y="932"/>
                  </a:lnTo>
                  <a:lnTo>
                    <a:pt x="1054" y="934"/>
                  </a:lnTo>
                  <a:lnTo>
                    <a:pt x="1050" y="935"/>
                  </a:lnTo>
                  <a:lnTo>
                    <a:pt x="1044" y="936"/>
                  </a:lnTo>
                  <a:lnTo>
                    <a:pt x="1033" y="936"/>
                  </a:lnTo>
                  <a:lnTo>
                    <a:pt x="216" y="119"/>
                  </a:lnTo>
                  <a:lnTo>
                    <a:pt x="216" y="108"/>
                  </a:lnTo>
                  <a:lnTo>
                    <a:pt x="216" y="103"/>
                  </a:lnTo>
                  <a:lnTo>
                    <a:pt x="218" y="97"/>
                  </a:lnTo>
                  <a:lnTo>
                    <a:pt x="219" y="93"/>
                  </a:lnTo>
                  <a:lnTo>
                    <a:pt x="222" y="87"/>
                  </a:lnTo>
                  <a:lnTo>
                    <a:pt x="226" y="84"/>
                  </a:lnTo>
                  <a:lnTo>
                    <a:pt x="229" y="80"/>
                  </a:lnTo>
                  <a:lnTo>
                    <a:pt x="233" y="77"/>
                  </a:lnTo>
                  <a:lnTo>
                    <a:pt x="239" y="75"/>
                  </a:lnTo>
                  <a:lnTo>
                    <a:pt x="245" y="72"/>
                  </a:lnTo>
                  <a:lnTo>
                    <a:pt x="252" y="72"/>
                  </a:lnTo>
                  <a:lnTo>
                    <a:pt x="259" y="72"/>
                  </a:lnTo>
                  <a:lnTo>
                    <a:pt x="266" y="75"/>
                  </a:lnTo>
                  <a:lnTo>
                    <a:pt x="272" y="78"/>
                  </a:lnTo>
                  <a:lnTo>
                    <a:pt x="277" y="82"/>
                  </a:lnTo>
                  <a:lnTo>
                    <a:pt x="1069" y="875"/>
                  </a:lnTo>
                  <a:lnTo>
                    <a:pt x="1073" y="879"/>
                  </a:lnTo>
                  <a:lnTo>
                    <a:pt x="1076" y="883"/>
                  </a:lnTo>
                  <a:lnTo>
                    <a:pt x="1078" y="888"/>
                  </a:lnTo>
                  <a:lnTo>
                    <a:pt x="1079" y="893"/>
                  </a:lnTo>
                  <a:lnTo>
                    <a:pt x="1080" y="899"/>
                  </a:lnTo>
                  <a:lnTo>
                    <a:pt x="1080" y="903"/>
                  </a:lnTo>
                  <a:lnTo>
                    <a:pt x="1079" y="908"/>
                  </a:lnTo>
                  <a:lnTo>
                    <a:pt x="1077" y="914"/>
                  </a:lnTo>
                  <a:lnTo>
                    <a:pt x="1077" y="914"/>
                  </a:lnTo>
                  <a:close/>
                  <a:moveTo>
                    <a:pt x="549" y="936"/>
                  </a:moveTo>
                  <a:lnTo>
                    <a:pt x="541" y="937"/>
                  </a:lnTo>
                  <a:lnTo>
                    <a:pt x="532" y="940"/>
                  </a:lnTo>
                  <a:lnTo>
                    <a:pt x="213" y="619"/>
                  </a:lnTo>
                  <a:lnTo>
                    <a:pt x="215" y="611"/>
                  </a:lnTo>
                  <a:lnTo>
                    <a:pt x="216" y="604"/>
                  </a:lnTo>
                  <a:lnTo>
                    <a:pt x="216" y="170"/>
                  </a:lnTo>
                  <a:lnTo>
                    <a:pt x="983" y="936"/>
                  </a:lnTo>
                  <a:lnTo>
                    <a:pt x="549" y="936"/>
                  </a:lnTo>
                  <a:close/>
                  <a:moveTo>
                    <a:pt x="498" y="957"/>
                  </a:moveTo>
                  <a:lnTo>
                    <a:pt x="385" y="1069"/>
                  </a:lnTo>
                  <a:lnTo>
                    <a:pt x="378" y="1075"/>
                  </a:lnTo>
                  <a:lnTo>
                    <a:pt x="371" y="1078"/>
                  </a:lnTo>
                  <a:lnTo>
                    <a:pt x="365" y="1080"/>
                  </a:lnTo>
                  <a:lnTo>
                    <a:pt x="360" y="1080"/>
                  </a:lnTo>
                  <a:lnTo>
                    <a:pt x="355" y="1080"/>
                  </a:lnTo>
                  <a:lnTo>
                    <a:pt x="349" y="1078"/>
                  </a:lnTo>
                  <a:lnTo>
                    <a:pt x="341" y="1075"/>
                  </a:lnTo>
                  <a:lnTo>
                    <a:pt x="335" y="1069"/>
                  </a:lnTo>
                  <a:lnTo>
                    <a:pt x="83" y="818"/>
                  </a:lnTo>
                  <a:lnTo>
                    <a:pt x="77" y="810"/>
                  </a:lnTo>
                  <a:lnTo>
                    <a:pt x="73" y="804"/>
                  </a:lnTo>
                  <a:lnTo>
                    <a:pt x="72" y="797"/>
                  </a:lnTo>
                  <a:lnTo>
                    <a:pt x="72" y="792"/>
                  </a:lnTo>
                  <a:lnTo>
                    <a:pt x="72" y="787"/>
                  </a:lnTo>
                  <a:lnTo>
                    <a:pt x="73" y="781"/>
                  </a:lnTo>
                  <a:lnTo>
                    <a:pt x="77" y="773"/>
                  </a:lnTo>
                  <a:lnTo>
                    <a:pt x="83" y="767"/>
                  </a:lnTo>
                  <a:lnTo>
                    <a:pt x="195" y="654"/>
                  </a:lnTo>
                  <a:lnTo>
                    <a:pt x="195" y="653"/>
                  </a:lnTo>
                  <a:lnTo>
                    <a:pt x="195" y="653"/>
                  </a:lnTo>
                  <a:lnTo>
                    <a:pt x="499" y="957"/>
                  </a:lnTo>
                  <a:lnTo>
                    <a:pt x="499" y="957"/>
                  </a:lnTo>
                  <a:lnTo>
                    <a:pt x="498" y="957"/>
                  </a:lnTo>
                  <a:lnTo>
                    <a:pt x="498" y="957"/>
                  </a:lnTo>
                  <a:close/>
                  <a:moveTo>
                    <a:pt x="328" y="31"/>
                  </a:moveTo>
                  <a:lnTo>
                    <a:pt x="321" y="25"/>
                  </a:lnTo>
                  <a:lnTo>
                    <a:pt x="312" y="18"/>
                  </a:lnTo>
                  <a:lnTo>
                    <a:pt x="302" y="13"/>
                  </a:lnTo>
                  <a:lnTo>
                    <a:pt x="293" y="8"/>
                  </a:lnTo>
                  <a:lnTo>
                    <a:pt x="283" y="4"/>
                  </a:lnTo>
                  <a:lnTo>
                    <a:pt x="273" y="2"/>
                  </a:lnTo>
                  <a:lnTo>
                    <a:pt x="262" y="0"/>
                  </a:lnTo>
                  <a:lnTo>
                    <a:pt x="252" y="0"/>
                  </a:lnTo>
                  <a:lnTo>
                    <a:pt x="242" y="0"/>
                  </a:lnTo>
                  <a:lnTo>
                    <a:pt x="231" y="2"/>
                  </a:lnTo>
                  <a:lnTo>
                    <a:pt x="221" y="4"/>
                  </a:lnTo>
                  <a:lnTo>
                    <a:pt x="211" y="9"/>
                  </a:lnTo>
                  <a:lnTo>
                    <a:pt x="203" y="12"/>
                  </a:lnTo>
                  <a:lnTo>
                    <a:pt x="196" y="15"/>
                  </a:lnTo>
                  <a:lnTo>
                    <a:pt x="190" y="19"/>
                  </a:lnTo>
                  <a:lnTo>
                    <a:pt x="184" y="25"/>
                  </a:lnTo>
                  <a:lnTo>
                    <a:pt x="177" y="30"/>
                  </a:lnTo>
                  <a:lnTo>
                    <a:pt x="172" y="36"/>
                  </a:lnTo>
                  <a:lnTo>
                    <a:pt x="167" y="42"/>
                  </a:lnTo>
                  <a:lnTo>
                    <a:pt x="162" y="48"/>
                  </a:lnTo>
                  <a:lnTo>
                    <a:pt x="158" y="55"/>
                  </a:lnTo>
                  <a:lnTo>
                    <a:pt x="154" y="62"/>
                  </a:lnTo>
                  <a:lnTo>
                    <a:pt x="151" y="69"/>
                  </a:lnTo>
                  <a:lnTo>
                    <a:pt x="149" y="77"/>
                  </a:lnTo>
                  <a:lnTo>
                    <a:pt x="147" y="84"/>
                  </a:lnTo>
                  <a:lnTo>
                    <a:pt x="146" y="92"/>
                  </a:lnTo>
                  <a:lnTo>
                    <a:pt x="145" y="99"/>
                  </a:lnTo>
                  <a:lnTo>
                    <a:pt x="144" y="108"/>
                  </a:lnTo>
                  <a:lnTo>
                    <a:pt x="144" y="604"/>
                  </a:lnTo>
                  <a:lnTo>
                    <a:pt x="31" y="716"/>
                  </a:lnTo>
                  <a:lnTo>
                    <a:pt x="25" y="724"/>
                  </a:lnTo>
                  <a:lnTo>
                    <a:pt x="18" y="732"/>
                  </a:lnTo>
                  <a:lnTo>
                    <a:pt x="13" y="742"/>
                  </a:lnTo>
                  <a:lnTo>
                    <a:pt x="7" y="752"/>
                  </a:lnTo>
                  <a:lnTo>
                    <a:pt x="4" y="761"/>
                  </a:lnTo>
                  <a:lnTo>
                    <a:pt x="2" y="771"/>
                  </a:lnTo>
                  <a:lnTo>
                    <a:pt x="1" y="782"/>
                  </a:lnTo>
                  <a:lnTo>
                    <a:pt x="0" y="792"/>
                  </a:lnTo>
                  <a:lnTo>
                    <a:pt x="1" y="802"/>
                  </a:lnTo>
                  <a:lnTo>
                    <a:pt x="2" y="812"/>
                  </a:lnTo>
                  <a:lnTo>
                    <a:pt x="4" y="823"/>
                  </a:lnTo>
                  <a:lnTo>
                    <a:pt x="7" y="833"/>
                  </a:lnTo>
                  <a:lnTo>
                    <a:pt x="13" y="842"/>
                  </a:lnTo>
                  <a:lnTo>
                    <a:pt x="18" y="851"/>
                  </a:lnTo>
                  <a:lnTo>
                    <a:pt x="25" y="860"/>
                  </a:lnTo>
                  <a:lnTo>
                    <a:pt x="31" y="868"/>
                  </a:lnTo>
                  <a:lnTo>
                    <a:pt x="284" y="1120"/>
                  </a:lnTo>
                  <a:lnTo>
                    <a:pt x="292" y="1128"/>
                  </a:lnTo>
                  <a:lnTo>
                    <a:pt x="300" y="1134"/>
                  </a:lnTo>
                  <a:lnTo>
                    <a:pt x="310" y="1139"/>
                  </a:lnTo>
                  <a:lnTo>
                    <a:pt x="320" y="1144"/>
                  </a:lnTo>
                  <a:lnTo>
                    <a:pt x="329" y="1148"/>
                  </a:lnTo>
                  <a:lnTo>
                    <a:pt x="339" y="1150"/>
                  </a:lnTo>
                  <a:lnTo>
                    <a:pt x="350" y="1151"/>
                  </a:lnTo>
                  <a:lnTo>
                    <a:pt x="360" y="1152"/>
                  </a:lnTo>
                  <a:lnTo>
                    <a:pt x="370" y="1151"/>
                  </a:lnTo>
                  <a:lnTo>
                    <a:pt x="381" y="1150"/>
                  </a:lnTo>
                  <a:lnTo>
                    <a:pt x="391" y="1148"/>
                  </a:lnTo>
                  <a:lnTo>
                    <a:pt x="401" y="1144"/>
                  </a:lnTo>
                  <a:lnTo>
                    <a:pt x="410" y="1139"/>
                  </a:lnTo>
                  <a:lnTo>
                    <a:pt x="419" y="1134"/>
                  </a:lnTo>
                  <a:lnTo>
                    <a:pt x="429" y="1128"/>
                  </a:lnTo>
                  <a:lnTo>
                    <a:pt x="436" y="1120"/>
                  </a:lnTo>
                  <a:lnTo>
                    <a:pt x="549" y="1008"/>
                  </a:lnTo>
                  <a:lnTo>
                    <a:pt x="1044" y="1008"/>
                  </a:lnTo>
                  <a:lnTo>
                    <a:pt x="1052" y="1008"/>
                  </a:lnTo>
                  <a:lnTo>
                    <a:pt x="1060" y="1007"/>
                  </a:lnTo>
                  <a:lnTo>
                    <a:pt x="1068" y="1005"/>
                  </a:lnTo>
                  <a:lnTo>
                    <a:pt x="1076" y="1003"/>
                  </a:lnTo>
                  <a:lnTo>
                    <a:pt x="1083" y="1001"/>
                  </a:lnTo>
                  <a:lnTo>
                    <a:pt x="1091" y="998"/>
                  </a:lnTo>
                  <a:lnTo>
                    <a:pt x="1097" y="994"/>
                  </a:lnTo>
                  <a:lnTo>
                    <a:pt x="1104" y="989"/>
                  </a:lnTo>
                  <a:lnTo>
                    <a:pt x="1110" y="985"/>
                  </a:lnTo>
                  <a:lnTo>
                    <a:pt x="1117" y="981"/>
                  </a:lnTo>
                  <a:lnTo>
                    <a:pt x="1122" y="974"/>
                  </a:lnTo>
                  <a:lnTo>
                    <a:pt x="1127" y="969"/>
                  </a:lnTo>
                  <a:lnTo>
                    <a:pt x="1132" y="962"/>
                  </a:lnTo>
                  <a:lnTo>
                    <a:pt x="1136" y="956"/>
                  </a:lnTo>
                  <a:lnTo>
                    <a:pt x="1140" y="948"/>
                  </a:lnTo>
                  <a:lnTo>
                    <a:pt x="1144" y="942"/>
                  </a:lnTo>
                  <a:lnTo>
                    <a:pt x="1147" y="934"/>
                  </a:lnTo>
                  <a:lnTo>
                    <a:pt x="1149" y="926"/>
                  </a:lnTo>
                  <a:lnTo>
                    <a:pt x="1150" y="918"/>
                  </a:lnTo>
                  <a:lnTo>
                    <a:pt x="1151" y="910"/>
                  </a:lnTo>
                  <a:lnTo>
                    <a:pt x="1152" y="903"/>
                  </a:lnTo>
                  <a:lnTo>
                    <a:pt x="1152" y="894"/>
                  </a:lnTo>
                  <a:lnTo>
                    <a:pt x="1151" y="887"/>
                  </a:lnTo>
                  <a:lnTo>
                    <a:pt x="1150" y="879"/>
                  </a:lnTo>
                  <a:lnTo>
                    <a:pt x="1148" y="872"/>
                  </a:lnTo>
                  <a:lnTo>
                    <a:pt x="1146" y="864"/>
                  </a:lnTo>
                  <a:lnTo>
                    <a:pt x="1143" y="856"/>
                  </a:lnTo>
                  <a:lnTo>
                    <a:pt x="1139" y="849"/>
                  </a:lnTo>
                  <a:lnTo>
                    <a:pt x="1135" y="842"/>
                  </a:lnTo>
                  <a:lnTo>
                    <a:pt x="1131" y="836"/>
                  </a:lnTo>
                  <a:lnTo>
                    <a:pt x="1126" y="829"/>
                  </a:lnTo>
                  <a:lnTo>
                    <a:pt x="1120" y="824"/>
                  </a:lnTo>
                  <a:lnTo>
                    <a:pt x="32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39"/>
            <p:cNvSpPr>
              <a:spLocks/>
            </p:cNvSpPr>
            <p:nvPr/>
          </p:nvSpPr>
          <p:spPr bwMode="auto">
            <a:xfrm>
              <a:off x="4806156" y="1839515"/>
              <a:ext cx="214313" cy="214313"/>
            </a:xfrm>
            <a:custGeom>
              <a:avLst/>
              <a:gdLst>
                <a:gd name="T0" fmla="*/ 36 w 540"/>
                <a:gd name="T1" fmla="*/ 72 h 540"/>
                <a:gd name="T2" fmla="*/ 80 w 540"/>
                <a:gd name="T3" fmla="*/ 75 h 540"/>
                <a:gd name="T4" fmla="*/ 123 w 540"/>
                <a:gd name="T5" fmla="*/ 81 h 540"/>
                <a:gd name="T6" fmla="*/ 164 w 540"/>
                <a:gd name="T7" fmla="*/ 92 h 540"/>
                <a:gd name="T8" fmla="*/ 204 w 540"/>
                <a:gd name="T9" fmla="*/ 106 h 540"/>
                <a:gd name="T10" fmla="*/ 242 w 540"/>
                <a:gd name="T11" fmla="*/ 124 h 540"/>
                <a:gd name="T12" fmla="*/ 278 w 540"/>
                <a:gd name="T13" fmla="*/ 146 h 540"/>
                <a:gd name="T14" fmla="*/ 310 w 540"/>
                <a:gd name="T15" fmla="*/ 171 h 540"/>
                <a:gd name="T16" fmla="*/ 342 w 540"/>
                <a:gd name="T17" fmla="*/ 199 h 540"/>
                <a:gd name="T18" fmla="*/ 370 w 540"/>
                <a:gd name="T19" fmla="*/ 230 h 540"/>
                <a:gd name="T20" fmla="*/ 394 w 540"/>
                <a:gd name="T21" fmla="*/ 262 h 540"/>
                <a:gd name="T22" fmla="*/ 416 w 540"/>
                <a:gd name="T23" fmla="*/ 298 h 540"/>
                <a:gd name="T24" fmla="*/ 434 w 540"/>
                <a:gd name="T25" fmla="*/ 336 h 540"/>
                <a:gd name="T26" fmla="*/ 448 w 540"/>
                <a:gd name="T27" fmla="*/ 376 h 540"/>
                <a:gd name="T28" fmla="*/ 459 w 540"/>
                <a:gd name="T29" fmla="*/ 417 h 540"/>
                <a:gd name="T30" fmla="*/ 466 w 540"/>
                <a:gd name="T31" fmla="*/ 460 h 540"/>
                <a:gd name="T32" fmla="*/ 468 w 540"/>
                <a:gd name="T33" fmla="*/ 504 h 540"/>
                <a:gd name="T34" fmla="*/ 469 w 540"/>
                <a:gd name="T35" fmla="*/ 511 h 540"/>
                <a:gd name="T36" fmla="*/ 474 w 540"/>
                <a:gd name="T37" fmla="*/ 524 h 540"/>
                <a:gd name="T38" fmla="*/ 484 w 540"/>
                <a:gd name="T39" fmla="*/ 534 h 540"/>
                <a:gd name="T40" fmla="*/ 497 w 540"/>
                <a:gd name="T41" fmla="*/ 539 h 540"/>
                <a:gd name="T42" fmla="*/ 511 w 540"/>
                <a:gd name="T43" fmla="*/ 539 h 540"/>
                <a:gd name="T44" fmla="*/ 524 w 540"/>
                <a:gd name="T45" fmla="*/ 534 h 540"/>
                <a:gd name="T46" fmla="*/ 534 w 540"/>
                <a:gd name="T47" fmla="*/ 524 h 540"/>
                <a:gd name="T48" fmla="*/ 539 w 540"/>
                <a:gd name="T49" fmla="*/ 511 h 540"/>
                <a:gd name="T50" fmla="*/ 540 w 540"/>
                <a:gd name="T51" fmla="*/ 504 h 540"/>
                <a:gd name="T52" fmla="*/ 539 w 540"/>
                <a:gd name="T53" fmla="*/ 477 h 540"/>
                <a:gd name="T54" fmla="*/ 534 w 540"/>
                <a:gd name="T55" fmla="*/ 427 h 540"/>
                <a:gd name="T56" fmla="*/ 524 w 540"/>
                <a:gd name="T57" fmla="*/ 378 h 540"/>
                <a:gd name="T58" fmla="*/ 509 w 540"/>
                <a:gd name="T59" fmla="*/ 330 h 540"/>
                <a:gd name="T60" fmla="*/ 491 w 540"/>
                <a:gd name="T61" fmla="*/ 285 h 540"/>
                <a:gd name="T62" fmla="*/ 467 w 540"/>
                <a:gd name="T63" fmla="*/ 243 h 540"/>
                <a:gd name="T64" fmla="*/ 440 w 540"/>
                <a:gd name="T65" fmla="*/ 203 h 540"/>
                <a:gd name="T66" fmla="*/ 410 w 540"/>
                <a:gd name="T67" fmla="*/ 165 h 540"/>
                <a:gd name="T68" fmla="*/ 375 w 540"/>
                <a:gd name="T69" fmla="*/ 132 h 540"/>
                <a:gd name="T70" fmla="*/ 338 w 540"/>
                <a:gd name="T71" fmla="*/ 100 h 540"/>
                <a:gd name="T72" fmla="*/ 297 w 540"/>
                <a:gd name="T73" fmla="*/ 73 h 540"/>
                <a:gd name="T74" fmla="*/ 255 w 540"/>
                <a:gd name="T75" fmla="*/ 50 h 540"/>
                <a:gd name="T76" fmla="*/ 210 w 540"/>
                <a:gd name="T77" fmla="*/ 31 h 540"/>
                <a:gd name="T78" fmla="*/ 162 w 540"/>
                <a:gd name="T79" fmla="*/ 16 h 540"/>
                <a:gd name="T80" fmla="*/ 114 w 540"/>
                <a:gd name="T81" fmla="*/ 6 h 540"/>
                <a:gd name="T82" fmla="*/ 63 w 540"/>
                <a:gd name="T83" fmla="*/ 1 h 540"/>
                <a:gd name="T84" fmla="*/ 37 w 540"/>
                <a:gd name="T85" fmla="*/ 0 h 540"/>
                <a:gd name="T86" fmla="*/ 28 w 540"/>
                <a:gd name="T87" fmla="*/ 1 h 540"/>
                <a:gd name="T88" fmla="*/ 15 w 540"/>
                <a:gd name="T89" fmla="*/ 6 h 540"/>
                <a:gd name="T90" fmla="*/ 6 w 540"/>
                <a:gd name="T91" fmla="*/ 16 h 540"/>
                <a:gd name="T92" fmla="*/ 0 w 540"/>
                <a:gd name="T93" fmla="*/ 29 h 540"/>
                <a:gd name="T94" fmla="*/ 0 w 540"/>
                <a:gd name="T95" fmla="*/ 43 h 540"/>
                <a:gd name="T96" fmla="*/ 6 w 540"/>
                <a:gd name="T97" fmla="*/ 56 h 540"/>
                <a:gd name="T98" fmla="*/ 15 w 540"/>
                <a:gd name="T99" fmla="*/ 66 h 540"/>
                <a:gd name="T100" fmla="*/ 28 w 540"/>
                <a:gd name="T101" fmla="*/ 71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0" h="540">
                  <a:moveTo>
                    <a:pt x="36" y="72"/>
                  </a:moveTo>
                  <a:lnTo>
                    <a:pt x="36" y="72"/>
                  </a:lnTo>
                  <a:lnTo>
                    <a:pt x="59" y="72"/>
                  </a:lnTo>
                  <a:lnTo>
                    <a:pt x="80" y="75"/>
                  </a:lnTo>
                  <a:lnTo>
                    <a:pt x="102" y="77"/>
                  </a:lnTo>
                  <a:lnTo>
                    <a:pt x="123" y="81"/>
                  </a:lnTo>
                  <a:lnTo>
                    <a:pt x="144" y="85"/>
                  </a:lnTo>
                  <a:lnTo>
                    <a:pt x="164" y="92"/>
                  </a:lnTo>
                  <a:lnTo>
                    <a:pt x="184" y="98"/>
                  </a:lnTo>
                  <a:lnTo>
                    <a:pt x="204" y="106"/>
                  </a:lnTo>
                  <a:lnTo>
                    <a:pt x="223" y="114"/>
                  </a:lnTo>
                  <a:lnTo>
                    <a:pt x="242" y="124"/>
                  </a:lnTo>
                  <a:lnTo>
                    <a:pt x="259" y="135"/>
                  </a:lnTo>
                  <a:lnTo>
                    <a:pt x="278" y="146"/>
                  </a:lnTo>
                  <a:lnTo>
                    <a:pt x="294" y="158"/>
                  </a:lnTo>
                  <a:lnTo>
                    <a:pt x="310" y="171"/>
                  </a:lnTo>
                  <a:lnTo>
                    <a:pt x="326" y="185"/>
                  </a:lnTo>
                  <a:lnTo>
                    <a:pt x="342" y="199"/>
                  </a:lnTo>
                  <a:lnTo>
                    <a:pt x="356" y="214"/>
                  </a:lnTo>
                  <a:lnTo>
                    <a:pt x="370" y="230"/>
                  </a:lnTo>
                  <a:lnTo>
                    <a:pt x="382" y="246"/>
                  </a:lnTo>
                  <a:lnTo>
                    <a:pt x="394" y="262"/>
                  </a:lnTo>
                  <a:lnTo>
                    <a:pt x="405" y="281"/>
                  </a:lnTo>
                  <a:lnTo>
                    <a:pt x="416" y="298"/>
                  </a:lnTo>
                  <a:lnTo>
                    <a:pt x="426" y="318"/>
                  </a:lnTo>
                  <a:lnTo>
                    <a:pt x="434" y="336"/>
                  </a:lnTo>
                  <a:lnTo>
                    <a:pt x="442" y="355"/>
                  </a:lnTo>
                  <a:lnTo>
                    <a:pt x="448" y="376"/>
                  </a:lnTo>
                  <a:lnTo>
                    <a:pt x="454" y="396"/>
                  </a:lnTo>
                  <a:lnTo>
                    <a:pt x="459" y="417"/>
                  </a:lnTo>
                  <a:lnTo>
                    <a:pt x="463" y="438"/>
                  </a:lnTo>
                  <a:lnTo>
                    <a:pt x="466" y="460"/>
                  </a:lnTo>
                  <a:lnTo>
                    <a:pt x="467" y="482"/>
                  </a:lnTo>
                  <a:lnTo>
                    <a:pt x="468" y="504"/>
                  </a:lnTo>
                  <a:lnTo>
                    <a:pt x="468" y="504"/>
                  </a:lnTo>
                  <a:lnTo>
                    <a:pt x="469" y="511"/>
                  </a:lnTo>
                  <a:lnTo>
                    <a:pt x="471" y="518"/>
                  </a:lnTo>
                  <a:lnTo>
                    <a:pt x="474" y="524"/>
                  </a:lnTo>
                  <a:lnTo>
                    <a:pt x="479" y="529"/>
                  </a:lnTo>
                  <a:lnTo>
                    <a:pt x="484" y="534"/>
                  </a:lnTo>
                  <a:lnTo>
                    <a:pt x="490" y="537"/>
                  </a:lnTo>
                  <a:lnTo>
                    <a:pt x="497" y="539"/>
                  </a:lnTo>
                  <a:lnTo>
                    <a:pt x="504" y="540"/>
                  </a:lnTo>
                  <a:lnTo>
                    <a:pt x="511" y="539"/>
                  </a:lnTo>
                  <a:lnTo>
                    <a:pt x="518" y="537"/>
                  </a:lnTo>
                  <a:lnTo>
                    <a:pt x="524" y="534"/>
                  </a:lnTo>
                  <a:lnTo>
                    <a:pt x="529" y="529"/>
                  </a:lnTo>
                  <a:lnTo>
                    <a:pt x="534" y="524"/>
                  </a:lnTo>
                  <a:lnTo>
                    <a:pt x="537" y="518"/>
                  </a:lnTo>
                  <a:lnTo>
                    <a:pt x="539" y="511"/>
                  </a:lnTo>
                  <a:lnTo>
                    <a:pt x="540" y="504"/>
                  </a:lnTo>
                  <a:lnTo>
                    <a:pt x="540" y="504"/>
                  </a:lnTo>
                  <a:lnTo>
                    <a:pt x="540" y="503"/>
                  </a:lnTo>
                  <a:lnTo>
                    <a:pt x="539" y="477"/>
                  </a:lnTo>
                  <a:lnTo>
                    <a:pt x="537" y="453"/>
                  </a:lnTo>
                  <a:lnTo>
                    <a:pt x="534" y="427"/>
                  </a:lnTo>
                  <a:lnTo>
                    <a:pt x="529" y="403"/>
                  </a:lnTo>
                  <a:lnTo>
                    <a:pt x="524" y="378"/>
                  </a:lnTo>
                  <a:lnTo>
                    <a:pt x="518" y="354"/>
                  </a:lnTo>
                  <a:lnTo>
                    <a:pt x="509" y="330"/>
                  </a:lnTo>
                  <a:lnTo>
                    <a:pt x="500" y="308"/>
                  </a:lnTo>
                  <a:lnTo>
                    <a:pt x="491" y="285"/>
                  </a:lnTo>
                  <a:lnTo>
                    <a:pt x="479" y="264"/>
                  </a:lnTo>
                  <a:lnTo>
                    <a:pt x="467" y="243"/>
                  </a:lnTo>
                  <a:lnTo>
                    <a:pt x="454" y="222"/>
                  </a:lnTo>
                  <a:lnTo>
                    <a:pt x="440" y="203"/>
                  </a:lnTo>
                  <a:lnTo>
                    <a:pt x="425" y="184"/>
                  </a:lnTo>
                  <a:lnTo>
                    <a:pt x="410" y="165"/>
                  </a:lnTo>
                  <a:lnTo>
                    <a:pt x="392" y="148"/>
                  </a:lnTo>
                  <a:lnTo>
                    <a:pt x="375" y="132"/>
                  </a:lnTo>
                  <a:lnTo>
                    <a:pt x="357" y="116"/>
                  </a:lnTo>
                  <a:lnTo>
                    <a:pt x="338" y="100"/>
                  </a:lnTo>
                  <a:lnTo>
                    <a:pt x="318" y="86"/>
                  </a:lnTo>
                  <a:lnTo>
                    <a:pt x="297" y="73"/>
                  </a:lnTo>
                  <a:lnTo>
                    <a:pt x="277" y="62"/>
                  </a:lnTo>
                  <a:lnTo>
                    <a:pt x="255" y="50"/>
                  </a:lnTo>
                  <a:lnTo>
                    <a:pt x="232" y="40"/>
                  </a:lnTo>
                  <a:lnTo>
                    <a:pt x="210" y="31"/>
                  </a:lnTo>
                  <a:lnTo>
                    <a:pt x="186" y="23"/>
                  </a:lnTo>
                  <a:lnTo>
                    <a:pt x="162" y="16"/>
                  </a:lnTo>
                  <a:lnTo>
                    <a:pt x="139" y="11"/>
                  </a:lnTo>
                  <a:lnTo>
                    <a:pt x="114" y="6"/>
                  </a:lnTo>
                  <a:lnTo>
                    <a:pt x="89" y="3"/>
                  </a:lnTo>
                  <a:lnTo>
                    <a:pt x="63" y="1"/>
                  </a:lnTo>
                  <a:lnTo>
                    <a:pt x="37" y="0"/>
                  </a:lnTo>
                  <a:lnTo>
                    <a:pt x="37" y="0"/>
                  </a:lnTo>
                  <a:lnTo>
                    <a:pt x="36" y="0"/>
                  </a:lnTo>
                  <a:lnTo>
                    <a:pt x="28" y="1"/>
                  </a:lnTo>
                  <a:lnTo>
                    <a:pt x="22" y="3"/>
                  </a:lnTo>
                  <a:lnTo>
                    <a:pt x="15" y="6"/>
                  </a:lnTo>
                  <a:lnTo>
                    <a:pt x="11" y="11"/>
                  </a:lnTo>
                  <a:lnTo>
                    <a:pt x="6" y="16"/>
                  </a:lnTo>
                  <a:lnTo>
                    <a:pt x="2" y="22"/>
                  </a:lnTo>
                  <a:lnTo>
                    <a:pt x="0" y="29"/>
                  </a:lnTo>
                  <a:lnTo>
                    <a:pt x="0" y="36"/>
                  </a:lnTo>
                  <a:lnTo>
                    <a:pt x="0" y="43"/>
                  </a:lnTo>
                  <a:lnTo>
                    <a:pt x="2" y="50"/>
                  </a:lnTo>
                  <a:lnTo>
                    <a:pt x="6" y="56"/>
                  </a:lnTo>
                  <a:lnTo>
                    <a:pt x="11" y="62"/>
                  </a:lnTo>
                  <a:lnTo>
                    <a:pt x="15" y="66"/>
                  </a:lnTo>
                  <a:lnTo>
                    <a:pt x="22" y="69"/>
                  </a:lnTo>
                  <a:lnTo>
                    <a:pt x="28" y="71"/>
                  </a:lnTo>
                  <a:lnTo>
                    <a:pt x="3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693318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B936387B-2919-48B3-B7B8-BB9D88C1E1DE}"/>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13" b="7813"/>
          <a:stretch>
            <a:fillRect/>
          </a:stretch>
        </p:blipFill>
        <p:spPr>
          <a:solidFill>
            <a:schemeClr val="tx1"/>
          </a:solidFill>
        </p:spPr>
      </p:pic>
      <p:sp>
        <p:nvSpPr>
          <p:cNvPr id="3" name="Rectangle 2"/>
          <p:cNvSpPr/>
          <p:nvPr/>
        </p:nvSpPr>
        <p:spPr>
          <a:xfrm>
            <a:off x="0" y="1"/>
            <a:ext cx="5413829" cy="6858001"/>
          </a:xfrm>
          <a:prstGeom prst="rect">
            <a:avLst/>
          </a:prstGeom>
          <a:pattFill prst="ltUpDiag">
            <a:fgClr>
              <a:schemeClr val="accent1">
                <a:lumMod val="50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Slide Number Placeholder 1"/>
          <p:cNvSpPr>
            <a:spLocks noGrp="1"/>
          </p:cNvSpPr>
          <p:nvPr>
            <p:ph type="sldNum" sz="quarter" idx="12"/>
          </p:nvPr>
        </p:nvSpPr>
        <p:spPr/>
        <p:txBody>
          <a:bodyPr/>
          <a:lstStyle/>
          <a:p>
            <a:fld id="{32ECD629-4DA5-4EAE-B174-69948CAAE2CE}" type="slidenum">
              <a:rPr lang="en-US" smtClean="0"/>
              <a:pPr/>
              <a:t>9</a:t>
            </a:fld>
            <a:endParaRPr lang="en-US" dirty="0"/>
          </a:p>
        </p:txBody>
      </p:sp>
      <p:sp>
        <p:nvSpPr>
          <p:cNvPr id="58" name="Title 11"/>
          <p:cNvSpPr txBox="1">
            <a:spLocks/>
          </p:cNvSpPr>
          <p:nvPr/>
        </p:nvSpPr>
        <p:spPr>
          <a:xfrm>
            <a:off x="8574037" y="2194573"/>
            <a:ext cx="1619863" cy="37574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nsert Your Creative Idea </a:t>
            </a:r>
          </a:p>
        </p:txBody>
      </p:sp>
      <p:sp>
        <p:nvSpPr>
          <p:cNvPr id="42" name="Freeform 41"/>
          <p:cNvSpPr>
            <a:spLocks noEditPoints="1"/>
          </p:cNvSpPr>
          <p:nvPr>
            <p:custDataLst>
              <p:tags r:id="rId1"/>
            </p:custDataLst>
          </p:nvPr>
        </p:nvSpPr>
        <p:spPr bwMode="auto">
          <a:xfrm>
            <a:off x="9607785" y="288047"/>
            <a:ext cx="2108872" cy="3192187"/>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46" name="Rectangle 3"/>
          <p:cNvSpPr txBox="1">
            <a:spLocks noChangeArrowheads="1"/>
          </p:cNvSpPr>
          <p:nvPr/>
        </p:nvSpPr>
        <p:spPr>
          <a:xfrm>
            <a:off x="8285021" y="1452733"/>
            <a:ext cx="1908879" cy="742027"/>
          </a:xfrm>
          <a:prstGeom prst="rect">
            <a:avLst/>
          </a:prstGeom>
        </p:spPr>
        <p:txBody>
          <a:bodyPr vert="horz" lIns="0" tIns="0" rIns="0" bIns="0" rtlCol="0" anchor="ctr">
            <a:noAutofit/>
          </a:bodyPr>
          <a:lstStyle>
            <a:lvl1pPr marL="227013" indent="-227013"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188"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989" indent="0" algn="r">
              <a:spcBef>
                <a:spcPts val="600"/>
              </a:spcBef>
              <a:buClr>
                <a:srgbClr val="1D5B2D"/>
              </a:buClr>
              <a:buSzPct val="100000"/>
              <a:buNone/>
            </a:pPr>
            <a:r>
              <a:rPr lang="en-US" sz="2800" b="1" spc="-151" dirty="0">
                <a:solidFill>
                  <a:schemeClr val="bg1"/>
                </a:solidFill>
                <a:latin typeface="Open Sans" panose="020B0606030504020204" pitchFamily="34" charset="0"/>
                <a:ea typeface="Open Sans" panose="020B0606030504020204" pitchFamily="34" charset="0"/>
                <a:cs typeface="Open Sans" panose="020B0606030504020204" pitchFamily="34" charset="0"/>
              </a:rPr>
              <a:t>THE PROBLEM</a:t>
            </a:r>
          </a:p>
        </p:txBody>
      </p:sp>
      <p:sp>
        <p:nvSpPr>
          <p:cNvPr id="48" name="Rectangle 47"/>
          <p:cNvSpPr/>
          <p:nvPr/>
        </p:nvSpPr>
        <p:spPr>
          <a:xfrm>
            <a:off x="1302873" y="1144720"/>
            <a:ext cx="2717585" cy="646331"/>
          </a:xfrm>
          <a:prstGeom prst="rect">
            <a:avLst/>
          </a:prstGeom>
        </p:spPr>
        <p:txBody>
          <a:bodyPr wrap="square">
            <a:spAutoFit/>
          </a:bodyPr>
          <a:lstStyle/>
          <a:p>
            <a:pPr>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p>
        </p:txBody>
      </p:sp>
      <p:sp>
        <p:nvSpPr>
          <p:cNvPr id="49" name="Rectangle 3"/>
          <p:cNvSpPr txBox="1">
            <a:spLocks noChangeArrowheads="1"/>
          </p:cNvSpPr>
          <p:nvPr/>
        </p:nvSpPr>
        <p:spPr>
          <a:xfrm>
            <a:off x="400102" y="1076721"/>
            <a:ext cx="571407" cy="742027"/>
          </a:xfrm>
          <a:prstGeom prst="rect">
            <a:avLst/>
          </a:prstGeom>
        </p:spPr>
        <p:txBody>
          <a:bodyPr vert="horz" lIns="0" tIns="0" rIns="0" bIns="0" rtlCol="0" anchor="ctr">
            <a:noAutofit/>
          </a:bodyPr>
          <a:lstStyle>
            <a:lvl1pPr marL="227013" indent="-227013"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188"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989" indent="0" algn="r">
              <a:spcBef>
                <a:spcPts val="600"/>
              </a:spcBef>
              <a:buClr>
                <a:srgbClr val="1D5B2D"/>
              </a:buClr>
              <a:buSzPct val="100000"/>
              <a:buNone/>
            </a:pPr>
            <a:r>
              <a:rPr lang="en-US" sz="2800" spc="-151" dirty="0">
                <a:solidFill>
                  <a:schemeClr val="bg1"/>
                </a:solidFill>
                <a:latin typeface="Open Sans" panose="020B0606030504020204" pitchFamily="34" charset="0"/>
                <a:ea typeface="Open Sans" panose="020B0606030504020204" pitchFamily="34" charset="0"/>
                <a:cs typeface="Open Sans" panose="020B0606030504020204" pitchFamily="34" charset="0"/>
              </a:rPr>
              <a:t>01</a:t>
            </a:r>
          </a:p>
        </p:txBody>
      </p:sp>
      <p:sp>
        <p:nvSpPr>
          <p:cNvPr id="55" name="Rectangle 54"/>
          <p:cNvSpPr/>
          <p:nvPr/>
        </p:nvSpPr>
        <p:spPr>
          <a:xfrm>
            <a:off x="2107300" y="2362944"/>
            <a:ext cx="2717585" cy="646331"/>
          </a:xfrm>
          <a:prstGeom prst="rect">
            <a:avLst/>
          </a:prstGeom>
        </p:spPr>
        <p:txBody>
          <a:bodyPr wrap="square">
            <a:spAutoFit/>
          </a:bodyPr>
          <a:lstStyle/>
          <a:p>
            <a:pPr>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p>
        </p:txBody>
      </p:sp>
      <p:sp>
        <p:nvSpPr>
          <p:cNvPr id="56" name="Rectangle 3"/>
          <p:cNvSpPr txBox="1">
            <a:spLocks noChangeArrowheads="1"/>
          </p:cNvSpPr>
          <p:nvPr/>
        </p:nvSpPr>
        <p:spPr>
          <a:xfrm>
            <a:off x="1204529" y="2294945"/>
            <a:ext cx="571407" cy="742027"/>
          </a:xfrm>
          <a:prstGeom prst="rect">
            <a:avLst/>
          </a:prstGeom>
        </p:spPr>
        <p:txBody>
          <a:bodyPr vert="horz" lIns="0" tIns="0" rIns="0" bIns="0" rtlCol="0" anchor="ctr">
            <a:noAutofit/>
          </a:bodyPr>
          <a:lstStyle>
            <a:lvl1pPr marL="227013" indent="-227013"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188"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989" indent="0" algn="r">
              <a:spcBef>
                <a:spcPts val="600"/>
              </a:spcBef>
              <a:buClr>
                <a:srgbClr val="1D5B2D"/>
              </a:buClr>
              <a:buSzPct val="100000"/>
              <a:buNone/>
            </a:pPr>
            <a:r>
              <a:rPr lang="en-US" sz="2800" spc="-151" dirty="0">
                <a:solidFill>
                  <a:schemeClr val="bg1"/>
                </a:solidFill>
                <a:latin typeface="Open Sans" panose="020B0606030504020204" pitchFamily="34" charset="0"/>
                <a:ea typeface="Open Sans" panose="020B0606030504020204" pitchFamily="34" charset="0"/>
                <a:cs typeface="Open Sans" panose="020B0606030504020204" pitchFamily="34" charset="0"/>
              </a:rPr>
              <a:t>02</a:t>
            </a:r>
          </a:p>
        </p:txBody>
      </p:sp>
      <p:sp>
        <p:nvSpPr>
          <p:cNvPr id="68" name="Rectangle 67"/>
          <p:cNvSpPr/>
          <p:nvPr/>
        </p:nvSpPr>
        <p:spPr>
          <a:xfrm>
            <a:off x="1302873" y="3653774"/>
            <a:ext cx="2717585" cy="646331"/>
          </a:xfrm>
          <a:prstGeom prst="rect">
            <a:avLst/>
          </a:prstGeom>
        </p:spPr>
        <p:txBody>
          <a:bodyPr wrap="square">
            <a:spAutoFit/>
          </a:bodyPr>
          <a:lstStyle/>
          <a:p>
            <a:pPr>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p>
        </p:txBody>
      </p:sp>
      <p:sp>
        <p:nvSpPr>
          <p:cNvPr id="69" name="Rectangle 3"/>
          <p:cNvSpPr txBox="1">
            <a:spLocks noChangeArrowheads="1"/>
          </p:cNvSpPr>
          <p:nvPr/>
        </p:nvSpPr>
        <p:spPr>
          <a:xfrm>
            <a:off x="400102" y="3585777"/>
            <a:ext cx="571407" cy="742027"/>
          </a:xfrm>
          <a:prstGeom prst="rect">
            <a:avLst/>
          </a:prstGeom>
        </p:spPr>
        <p:txBody>
          <a:bodyPr vert="horz" lIns="0" tIns="0" rIns="0" bIns="0" rtlCol="0" anchor="ctr">
            <a:noAutofit/>
          </a:bodyPr>
          <a:lstStyle>
            <a:lvl1pPr marL="227013" indent="-227013"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188"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989" indent="0" algn="r">
              <a:spcBef>
                <a:spcPts val="600"/>
              </a:spcBef>
              <a:buClr>
                <a:srgbClr val="1D5B2D"/>
              </a:buClr>
              <a:buSzPct val="100000"/>
              <a:buNone/>
            </a:pPr>
            <a:r>
              <a:rPr lang="en-US" sz="2800" spc="-151" dirty="0">
                <a:solidFill>
                  <a:schemeClr val="bg1"/>
                </a:solidFill>
                <a:latin typeface="Open Sans" panose="020B0606030504020204" pitchFamily="34" charset="0"/>
                <a:ea typeface="Open Sans" panose="020B0606030504020204" pitchFamily="34" charset="0"/>
                <a:cs typeface="Open Sans" panose="020B0606030504020204" pitchFamily="34" charset="0"/>
              </a:rPr>
              <a:t>03</a:t>
            </a:r>
          </a:p>
        </p:txBody>
      </p:sp>
      <p:sp>
        <p:nvSpPr>
          <p:cNvPr id="70" name="Rectangle 69"/>
          <p:cNvSpPr/>
          <p:nvPr/>
        </p:nvSpPr>
        <p:spPr>
          <a:xfrm>
            <a:off x="2107300" y="4944606"/>
            <a:ext cx="2717585" cy="646331"/>
          </a:xfrm>
          <a:prstGeom prst="rect">
            <a:avLst/>
          </a:prstGeom>
        </p:spPr>
        <p:txBody>
          <a:bodyPr wrap="square">
            <a:spAutoFit/>
          </a:bodyPr>
          <a:lstStyle/>
          <a:p>
            <a:pPr>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p>
        </p:txBody>
      </p:sp>
      <p:sp>
        <p:nvSpPr>
          <p:cNvPr id="71" name="Rectangle 3"/>
          <p:cNvSpPr txBox="1">
            <a:spLocks noChangeArrowheads="1"/>
          </p:cNvSpPr>
          <p:nvPr/>
        </p:nvSpPr>
        <p:spPr>
          <a:xfrm>
            <a:off x="1204529" y="4876608"/>
            <a:ext cx="571407" cy="742027"/>
          </a:xfrm>
          <a:prstGeom prst="rect">
            <a:avLst/>
          </a:prstGeom>
        </p:spPr>
        <p:txBody>
          <a:bodyPr vert="horz" lIns="0" tIns="0" rIns="0" bIns="0" rtlCol="0" anchor="ctr">
            <a:noAutofit/>
          </a:bodyPr>
          <a:lstStyle>
            <a:lvl1pPr marL="227013" indent="-227013"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188"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989" indent="0" algn="r">
              <a:spcBef>
                <a:spcPts val="600"/>
              </a:spcBef>
              <a:buClr>
                <a:srgbClr val="1D5B2D"/>
              </a:buClr>
              <a:buSzPct val="100000"/>
              <a:buNone/>
            </a:pPr>
            <a:r>
              <a:rPr lang="en-US" sz="2800" spc="-151" dirty="0">
                <a:solidFill>
                  <a:schemeClr val="bg1"/>
                </a:solidFill>
                <a:latin typeface="Open Sans" panose="020B0606030504020204" pitchFamily="34" charset="0"/>
                <a:ea typeface="Open Sans" panose="020B0606030504020204" pitchFamily="34" charset="0"/>
                <a:cs typeface="Open Sans" panose="020B0606030504020204" pitchFamily="34" charset="0"/>
              </a:rPr>
              <a:t>04</a:t>
            </a:r>
          </a:p>
        </p:txBody>
      </p:sp>
      <p:cxnSp>
        <p:nvCxnSpPr>
          <p:cNvPr id="8" name="Straight Connector 7"/>
          <p:cNvCxnSpPr/>
          <p:nvPr/>
        </p:nvCxnSpPr>
        <p:spPr>
          <a:xfrm>
            <a:off x="1160985" y="1047694"/>
            <a:ext cx="0" cy="853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005541" y="2265918"/>
            <a:ext cx="0" cy="853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160985" y="3585778"/>
            <a:ext cx="0" cy="853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2005541" y="4876609"/>
            <a:ext cx="0" cy="853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3473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pBiFfq1WE.qdOU75Po4M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TotalTime>
  <Words>954</Words>
  <Application>Microsoft Office PowerPoint</Application>
  <PresentationFormat>Widescreen</PresentationFormat>
  <Paragraphs>102</Paragraphs>
  <Slides>11</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vt:i4>
      </vt:variant>
    </vt:vector>
  </HeadingPairs>
  <TitlesOfParts>
    <vt:vector size="17" baseType="lpstr">
      <vt:lpstr>Arial</vt:lpstr>
      <vt:lpstr>Calibri</vt:lpstr>
      <vt:lpstr>Calibri Light</vt:lpstr>
      <vt:lpstr>Open Sans</vt:lpstr>
      <vt:lpstr>Open Sans Light</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mar Khan</dc:creator>
  <cp:lastModifiedBy>Michal Zavacky</cp:lastModifiedBy>
  <cp:revision>4</cp:revision>
  <dcterms:created xsi:type="dcterms:W3CDTF">2019-06-22T06:37:34Z</dcterms:created>
  <dcterms:modified xsi:type="dcterms:W3CDTF">2019-06-22T12:30:34Z</dcterms:modified>
</cp:coreProperties>
</file>